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58" r:id="rId3"/>
    <p:sldId id="266" r:id="rId4"/>
    <p:sldId id="262" r:id="rId5"/>
    <p:sldId id="263" r:id="rId6"/>
    <p:sldId id="277" r:id="rId7"/>
    <p:sldId id="276" r:id="rId8"/>
    <p:sldId id="275" r:id="rId9"/>
    <p:sldId id="270" r:id="rId10"/>
    <p:sldId id="271" r:id="rId11"/>
    <p:sldId id="272" r:id="rId12"/>
    <p:sldId id="273" r:id="rId13"/>
    <p:sldId id="278" r:id="rId14"/>
    <p:sldId id="268" r:id="rId15"/>
  </p:sldIdLst>
  <p:sldSz cx="12192000" cy="6858000"/>
  <p:notesSz cx="6858000" cy="91440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iona Littlejohn-Carrillo" initials="FL" lastIdx="1" clrIdx="0">
    <p:extLst>
      <p:ext uri="{19B8F6BF-5375-455C-9EA6-DF929625EA0E}">
        <p15:presenceInfo xmlns:p15="http://schemas.microsoft.com/office/powerpoint/2012/main" xmlns="" userId="Fiona Littlejohn-Carrill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46" d="100"/>
          <a:sy n="46" d="100"/>
        </p:scale>
        <p:origin x="-120" y="-58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11-06T09:30:11.154" idx="1">
    <p:pos x="10" y="10"/>
    <p:text/>
    <p:extLst>
      <p:ext uri="{C676402C-5697-4E1C-873F-D02D1690AC5C}">
        <p15:threadingInfo xmlns:p15="http://schemas.microsoft.com/office/powerpoint/2012/main" xmlns="" timeZoneBias="180"/>
      </p:ext>
    </p:extLst>
  </p:cm>
</p:cmLst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05B639A-88E4-49B8-8CF6-FFBDDF562E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93EE551C-C2F6-4E73-A3A9-EC84AD0FE8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F84B52CF-B1E6-4960-B7E1-0F4A9A3D44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439B3-9095-4B70-9796-78DCCA761EF2}" type="datetimeFigureOut">
              <a:rPr lang="es-CL" smtClean="0"/>
              <a:t>07-06-2021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18EC08B-3A33-4D40-BE19-F52A92141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5A7C2BAF-145E-426B-A898-BD4458E2D7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1B3E4-BAEC-4019-B2BF-D7C84A84241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870958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0061504-A3FE-4E7A-8EEC-C256CCBAA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F422F683-B51F-4930-A831-67D47E3B11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DF302175-16C9-416E-86F4-AA3BB744EB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439B3-9095-4B70-9796-78DCCA761EF2}" type="datetimeFigureOut">
              <a:rPr lang="es-CL" smtClean="0"/>
              <a:t>07-06-2021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1308B17E-9DEC-4C5A-940F-7C55A079D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90B0B872-91AA-4D3E-9090-9994C5B886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1B3E4-BAEC-4019-B2BF-D7C84A84241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860050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8AF6C518-A287-4311-9368-D1CA7762418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E632BB5B-D3AB-41BC-9756-7AF3804414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776D3E9F-2E40-4CBB-9FC5-2D190C7FA7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439B3-9095-4B70-9796-78DCCA761EF2}" type="datetimeFigureOut">
              <a:rPr lang="es-CL" smtClean="0"/>
              <a:t>07-06-2021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E5CE152C-A244-408D-9387-DBDE2C221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4E0E8799-3EA7-4480-91C3-7AFAD2A43F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1B3E4-BAEC-4019-B2BF-D7C84A84241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878182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88EC2C6-53CD-4F34-B07B-AA87756B3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6E912CE3-F8C0-43F1-A965-6D0EDA3229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A72249EB-1F00-40DE-86DA-F61AC1B1E2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439B3-9095-4B70-9796-78DCCA761EF2}" type="datetimeFigureOut">
              <a:rPr lang="es-CL" smtClean="0"/>
              <a:t>07-06-2021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FA646A0-EF53-4CAE-A1D5-8652CA42DC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65D11BB-9720-49A5-AF52-6EFD6BEBA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1B3E4-BAEC-4019-B2BF-D7C84A84241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714485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300054E8-C5AB-4613-8FA5-4D5AE54F55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EA86B854-2E88-43EA-AC36-1FC2A0A7C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18BFEEFB-A0A6-475F-943E-768AF6F77A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439B3-9095-4B70-9796-78DCCA761EF2}" type="datetimeFigureOut">
              <a:rPr lang="es-CL" smtClean="0"/>
              <a:t>07-06-2021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A9287296-9644-4083-8146-83BA3BB0C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ED486E9D-79A2-442B-936A-26BC597C3D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1B3E4-BAEC-4019-B2BF-D7C84A84241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111112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AC24799C-D4A9-4941-A364-BDED1B033B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B8805BCF-CED7-495A-ABDB-204B415336B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9683A19A-BE5F-4200-9804-268106D8E2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A9B2C8A8-2536-4406-8847-0E1FBCF58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439B3-9095-4B70-9796-78DCCA761EF2}" type="datetimeFigureOut">
              <a:rPr lang="es-CL" smtClean="0"/>
              <a:t>07-06-2021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A2FBE7BB-921F-41C9-BB04-0AD8E31278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F65BD37D-F35E-4926-B54F-F2F878B8F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1B3E4-BAEC-4019-B2BF-D7C84A84241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4188822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49DFE7D-7C2D-41B2-ADC8-EDD7B2ED94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B1D60723-0906-44E7-AD44-4B35DC4890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2441D290-88AF-49FF-8369-DC6CCC904A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27E60F42-34E5-4484-B0C7-FE552EDD97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1389C9AF-0CE2-4372-B6C2-C73998A05B0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BD83D00E-4C89-483D-B273-2829525DE7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439B3-9095-4B70-9796-78DCCA761EF2}" type="datetimeFigureOut">
              <a:rPr lang="es-CL" smtClean="0"/>
              <a:t>07-06-2021</a:t>
            </a:fld>
            <a:endParaRPr lang="es-CL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353DBBAF-86E8-43F4-955C-38AA462347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E6B460A2-7954-4361-8864-B1F5FCC399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1B3E4-BAEC-4019-B2BF-D7C84A84241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12077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BAD8B78-EB6D-45A2-BFFD-960DAD90C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AE9F122F-D456-4123-903F-80041ECF4C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439B3-9095-4B70-9796-78DCCA761EF2}" type="datetimeFigureOut">
              <a:rPr lang="es-CL" smtClean="0"/>
              <a:t>07-06-2021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4B1629E5-516E-400A-8DDF-4DAFF762C4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14D125C8-BD06-49E2-B7F1-3506754D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1B3E4-BAEC-4019-B2BF-D7C84A84241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543766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2E7FE1ED-4559-4271-94E8-BCFD77A3FB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439B3-9095-4B70-9796-78DCCA761EF2}" type="datetimeFigureOut">
              <a:rPr lang="es-CL" smtClean="0"/>
              <a:t>07-06-2021</a:t>
            </a:fld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48032C28-079A-45EF-A228-C0067734C3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66FA9643-05E2-4CE8-9B17-F2E4712894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1B3E4-BAEC-4019-B2BF-D7C84A84241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150692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F43981A-705A-4699-830E-0A189959BF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AA15EDF6-F78C-4507-A34B-2CE799D73D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21F0CEC8-2A3B-40A2-A4CF-5F1003266E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DC322AA4-393B-4F54-8625-5496BD39BC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439B3-9095-4B70-9796-78DCCA761EF2}" type="datetimeFigureOut">
              <a:rPr lang="es-CL" smtClean="0"/>
              <a:t>07-06-2021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308FF1E1-539C-41FB-9B20-292A4E0507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E796AE53-4771-4651-9331-1C3727753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1B3E4-BAEC-4019-B2BF-D7C84A84241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8983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BC0B2D30-666B-47C3-BEF3-7EA8A1C09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7FDE3246-F9C6-4240-85A4-386B2CA1CB1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FD569B26-EDB5-4137-B45A-ED80EB12A0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BC86776C-D038-4E20-AD55-86BAA59F15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439B3-9095-4B70-9796-78DCCA761EF2}" type="datetimeFigureOut">
              <a:rPr lang="es-CL" smtClean="0"/>
              <a:t>07-06-2021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F355D03A-4512-4AD7-A355-85685588E1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8666EC7E-F578-41E2-B042-97450CC502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1B3E4-BAEC-4019-B2BF-D7C84A84241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084814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5BC855DA-975C-4D55-972B-7F66305FB6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026C63FC-DC34-4401-811D-AB5E6BD17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9B9C580A-1F4C-4557-8B92-FC374A0A0C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D439B3-9095-4B70-9796-78DCCA761EF2}" type="datetimeFigureOut">
              <a:rPr lang="es-CL" smtClean="0"/>
              <a:t>07-06-2021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CD70D2F1-DB24-4B5C-9C33-3C0B21FCC9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AD2F696-FF4C-418B-B858-E57A388A14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41B3E4-BAEC-4019-B2BF-D7C84A84241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33192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13" Type="http://schemas.openxmlformats.org/officeDocument/2006/relationships/image" Target="../media/image2.jpeg"/><Relationship Id="rId3" Type="http://schemas.openxmlformats.org/officeDocument/2006/relationships/image" Target="../media/image8.png"/><Relationship Id="rId12" Type="http://schemas.openxmlformats.org/officeDocument/2006/relationships/image" Target="../media/image15.sv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9" Type="http://schemas.openxmlformats.org/officeDocument/2006/relationships/image" Target="../media/image10.png"/><Relationship Id="rId14" Type="http://schemas.openxmlformats.org/officeDocument/2006/relationships/image" Target="../media/image6.png"/><Relationship Id="rId4" Type="http://schemas.openxmlformats.org/officeDocument/2006/relationships/image" Target="../media/image7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Roi.chiti@un.org" TargetMode="Externa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comments" Target="../comments/comment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image" Target="../media/image1.jpeg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13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12" Type="http://schemas.openxmlformats.org/officeDocument/2006/relationships/image" Target="../media/image15.sv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svg"/><Relationship Id="rId11" Type="http://schemas.openxmlformats.org/officeDocument/2006/relationships/image" Target="../media/image10.png"/><Relationship Id="rId5" Type="http://schemas.openxmlformats.org/officeDocument/2006/relationships/image" Target="../media/image7.png"/><Relationship Id="rId15" Type="http://schemas.openxmlformats.org/officeDocument/2006/relationships/image" Target="../media/image2.jpeg"/><Relationship Id="rId10" Type="http://schemas.openxmlformats.org/officeDocument/2006/relationships/image" Target="../media/image13.svg"/><Relationship Id="rId4" Type="http://schemas.openxmlformats.org/officeDocument/2006/relationships/image" Target="../media/image7.svg"/><Relationship Id="rId9" Type="http://schemas.openxmlformats.org/officeDocument/2006/relationships/image" Target="../media/image9.png"/><Relationship Id="rId14" Type="http://schemas.openxmlformats.org/officeDocument/2006/relationships/image" Target="../media/image17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13" Type="http://schemas.openxmlformats.org/officeDocument/2006/relationships/image" Target="../media/image2.jpeg"/><Relationship Id="rId3" Type="http://schemas.openxmlformats.org/officeDocument/2006/relationships/image" Target="../media/image8.png"/><Relationship Id="rId12" Type="http://schemas.openxmlformats.org/officeDocument/2006/relationships/image" Target="../media/image15.sv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9" Type="http://schemas.openxmlformats.org/officeDocument/2006/relationships/image" Target="../media/image10.png"/><Relationship Id="rId14" Type="http://schemas.openxmlformats.org/officeDocument/2006/relationships/image" Target="../media/image6.png"/><Relationship Id="rId4" Type="http://schemas.openxmlformats.org/officeDocument/2006/relationships/image" Target="../media/image7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8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10" Type="http://schemas.openxmlformats.org/officeDocument/2006/relationships/image" Target="../media/image12.emf"/><Relationship Id="rId9" Type="http://schemas.openxmlformats.org/officeDocument/2006/relationships/image" Target="../media/image2.jpe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.jpeg"/><Relationship Id="rId3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42A4FC2C-047E-45A5-965D-8E1E3BF09BC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4" name="Marcador de contenido 3">
            <a:extLst>
              <a:ext uri="{FF2B5EF4-FFF2-40B4-BE49-F238E27FC236}">
                <a16:creationId xmlns:a16="http://schemas.microsoft.com/office/drawing/2014/main" xmlns="" id="{A0EC6153-4C76-4452-9D5D-507B25075426}"/>
              </a:ext>
            </a:extLst>
          </p:cNvPr>
          <p:cNvPicPr>
            <a:picLocks noGrp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"/>
          <a:stretch/>
        </p:blipFill>
        <p:spPr bwMode="auto">
          <a:xfrm>
            <a:off x="20" y="1282"/>
            <a:ext cx="12191980" cy="6856718"/>
          </a:xfrm>
          <a:prstGeom prst="rect">
            <a:avLst/>
          </a:prstGeom>
          <a:noFill/>
        </p:spPr>
      </p:pic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xmlns="" id="{1B4B8003-20AE-44AC-BFB0-9B54894874BA}"/>
              </a:ext>
            </a:extLst>
          </p:cNvPr>
          <p:cNvSpPr/>
          <p:nvPr/>
        </p:nvSpPr>
        <p:spPr>
          <a:xfrm>
            <a:off x="2491613" y="730439"/>
            <a:ext cx="7179310" cy="5479076"/>
          </a:xfrm>
          <a:prstGeom prst="roundRect">
            <a:avLst/>
          </a:prstGeom>
          <a:solidFill>
            <a:schemeClr val="bg1"/>
          </a:solidFill>
          <a:ln w="57150"/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xmlns="" id="{6DD2F36E-20B4-43F6-B090-021552D0D90D}"/>
              </a:ext>
            </a:extLst>
          </p:cNvPr>
          <p:cNvSpPr txBox="1"/>
          <p:nvPr/>
        </p:nvSpPr>
        <p:spPr>
          <a:xfrm>
            <a:off x="2672080" y="1351280"/>
            <a:ext cx="6793229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6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operación Interregional para la Implementación de la Nueva Agenda Urbana</a:t>
            </a:r>
          </a:p>
          <a:p>
            <a:pPr algn="ctr"/>
            <a:endParaRPr lang="es-MX" sz="1400" b="1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r>
              <a:rPr lang="es-MX" sz="16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inanciado por </a:t>
            </a:r>
            <a:r>
              <a:rPr lang="es-CL" sz="1600" dirty="0">
                <a:solidFill>
                  <a:srgbClr val="002060"/>
                </a:solidFill>
              </a:rPr>
              <a:t>L</a:t>
            </a:r>
            <a:r>
              <a:rPr lang="es-CL" sz="16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 cuenta de Desarrollo de las Naciones Unidas</a:t>
            </a:r>
            <a:endParaRPr lang="es-MX" b="1" dirty="0">
              <a:solidFill>
                <a:srgbClr val="0070C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b="1" dirty="0">
              <a:solidFill>
                <a:srgbClr val="0070C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r>
              <a:rPr lang="es-CL" b="1" dirty="0">
                <a:solidFill>
                  <a:schemeClr val="bg1"/>
                </a:solidFill>
                <a:highlight>
                  <a:srgbClr val="FF0000"/>
                </a:highlight>
              </a:rPr>
              <a:t>2020-2023</a:t>
            </a:r>
          </a:p>
          <a:p>
            <a:endParaRPr lang="es-MX" b="1" dirty="0">
              <a:solidFill>
                <a:srgbClr val="0070C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b="1" dirty="0">
              <a:solidFill>
                <a:srgbClr val="0070C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b="1" dirty="0">
              <a:solidFill>
                <a:srgbClr val="0070C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b="1" dirty="0">
              <a:solidFill>
                <a:srgbClr val="0070C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CL" dirty="0"/>
          </a:p>
        </p:txBody>
      </p:sp>
      <p:pic>
        <p:nvPicPr>
          <p:cNvPr id="11" name="Picture 6">
            <a:extLst>
              <a:ext uri="{FF2B5EF4-FFF2-40B4-BE49-F238E27FC236}">
                <a16:creationId xmlns:a16="http://schemas.microsoft.com/office/drawing/2014/main" xmlns="" id="{44F68F9B-F1A6-4AE9-8E10-B4DF546DEB9D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651513" y="4184374"/>
            <a:ext cx="902150" cy="996249"/>
          </a:xfrm>
          <a:prstGeom prst="rect">
            <a:avLst/>
          </a:prstGeom>
        </p:spPr>
      </p:pic>
      <p:pic>
        <p:nvPicPr>
          <p:cNvPr id="13" name="Imagen 12" descr="Logotipo, nombre de la empresa&#10;&#10;Descripción generada automáticamente">
            <a:extLst>
              <a:ext uri="{FF2B5EF4-FFF2-40B4-BE49-F238E27FC236}">
                <a16:creationId xmlns:a16="http://schemas.microsoft.com/office/drawing/2014/main" xmlns="" id="{312319EC-0EDF-4DCB-8F7C-E27C028F2C0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2187" y="4081481"/>
            <a:ext cx="2170717" cy="1202034"/>
          </a:xfrm>
          <a:prstGeom prst="rect">
            <a:avLst/>
          </a:prstGeom>
        </p:spPr>
      </p:pic>
      <p:pic>
        <p:nvPicPr>
          <p:cNvPr id="21" name="Imagen 20" descr="Imagen que contiene nombre de la empresa&#10;&#10;Descripción generada automáticamente">
            <a:extLst>
              <a:ext uri="{FF2B5EF4-FFF2-40B4-BE49-F238E27FC236}">
                <a16:creationId xmlns:a16="http://schemas.microsoft.com/office/drawing/2014/main" xmlns="" id="{458FE780-DA38-4393-A411-62A1637B2BD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587" y="5433311"/>
            <a:ext cx="2743200" cy="693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478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0155078D-9C4D-4E76-9E27-FB8CCB51056F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" y="0"/>
            <a:ext cx="495302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ED05C4E6-FCBF-4715-ADC6-AE7A92B250EB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166507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F06A9F79-3EC7-49C6-B0F8-825766CB9BB7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75400" y="-5361049"/>
            <a:ext cx="428627" cy="1115072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4DA09D1F-3A95-4D36-8AA4-563FF431B480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64688" y="1083802"/>
            <a:ext cx="431005" cy="1115072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extBox 7">
            <a:extLst>
              <a:ext uri="{FF2B5EF4-FFF2-40B4-BE49-F238E27FC236}">
                <a16:creationId xmlns:a16="http://schemas.microsoft.com/office/drawing/2014/main" xmlns="" id="{7CC849E8-FB81-4945-87CA-89A1270FC088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774359" y="644060"/>
            <a:ext cx="10069132" cy="3416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s-MX" sz="1800" b="1" dirty="0" smtClean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lleres de intercambio de experiencias sobre Planificación Urbana y herramientas de gestión de suelo </a:t>
            </a:r>
            <a:endParaRPr lang="es-MX" sz="1800" b="1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Straight Arrow Connector 4">
            <a:extLst>
              <a:ext uri="{FF2B5EF4-FFF2-40B4-BE49-F238E27FC236}">
                <a16:creationId xmlns:a16="http://schemas.microsoft.com/office/drawing/2014/main" xmlns="" id="{65633C54-0E4F-4139-9DCE-F5C6B1FB427D}"/>
              </a:ext>
            </a:extLst>
          </p:cNvPr>
          <p:cNvCxnSpPr>
            <a:cxnSpLocks/>
          </p:cNvCxnSpPr>
          <p:nvPr/>
        </p:nvCxnSpPr>
        <p:spPr>
          <a:xfrm>
            <a:off x="875356" y="1045736"/>
            <a:ext cx="7446608" cy="0"/>
          </a:xfrm>
          <a:prstGeom prst="straightConnector1">
            <a:avLst/>
          </a:prstGeom>
          <a:ln w="6350"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pic>
        <p:nvPicPr>
          <p:cNvPr id="2053" name="Picture 6">
            <a:extLst>
              <a:ext uri="{FF2B5EF4-FFF2-40B4-BE49-F238E27FC236}">
                <a16:creationId xmlns:a16="http://schemas.microsoft.com/office/drawing/2014/main" xmlns="" id="{91295C7C-1E9F-4CEC-AB5F-7B03E1EF332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0653360" y="443436"/>
            <a:ext cx="1002194" cy="1135648"/>
          </a:xfrm>
          <a:prstGeom prst="rect">
            <a:avLst/>
          </a:prstGeom>
        </p:spPr>
      </p:pic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4900071"/>
              </p:ext>
            </p:extLst>
          </p:nvPr>
        </p:nvGraphicFramePr>
        <p:xfrm>
          <a:off x="1963275" y="1371529"/>
          <a:ext cx="7980218" cy="467116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84725"/>
                <a:gridCol w="6895493"/>
              </a:tblGrid>
              <a:tr h="807693">
                <a:tc gridSpan="2">
                  <a:txBody>
                    <a:bodyPr/>
                    <a:lstStyle/>
                    <a:p>
                      <a:pPr marL="45720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 smtClean="0">
                          <a:effectLst/>
                        </a:rPr>
                        <a:t>Agenda  </a:t>
                      </a:r>
                      <a:endParaRPr lang="en-US" sz="1200" dirty="0">
                        <a:effectLst/>
                      </a:endParaRPr>
                    </a:p>
                    <a:p>
                      <a:pPr marL="45720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>
                          <a:effectLst/>
                        </a:rPr>
                        <a:t>Taller de intercambio de experiencias Concejo Metropolitano de Quito  </a:t>
                      </a:r>
                      <a:endParaRPr lang="en-US" sz="1200" dirty="0">
                        <a:effectLst/>
                      </a:endParaRPr>
                    </a:p>
                    <a:p>
                      <a:pPr marL="45720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>
                          <a:effectLst/>
                        </a:rPr>
                        <a:t>Duración: 4 horas </a:t>
                      </a:r>
                      <a:endParaRPr lang="en-US" sz="1200" dirty="0">
                        <a:effectLst/>
                      </a:endParaRPr>
                    </a:p>
                  </a:txBody>
                  <a:tcPr marL="48099" marR="48099" marT="0" marB="0"/>
                </a:tc>
                <a:tc hMerge="1">
                  <a:txBody>
                    <a:bodyPr/>
                    <a:lstStyle/>
                    <a:p>
                      <a:endParaRPr lang="es-419"/>
                    </a:p>
                  </a:txBody>
                  <a:tcPr/>
                </a:tc>
              </a:tr>
              <a:tr h="39761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>
                          <a:effectLst/>
                        </a:rPr>
                        <a:t> </a:t>
                      </a:r>
                      <a:r>
                        <a:rPr lang="es-419" sz="1200" dirty="0" smtClean="0">
                          <a:effectLst/>
                        </a:rPr>
                        <a:t>Tiempo </a:t>
                      </a:r>
                      <a:endParaRPr lang="en-US" sz="1200" dirty="0"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>
                          <a:effectLst/>
                        </a:rPr>
                        <a:t>(4horas)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8099" marR="4809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>
                          <a:effectLst/>
                        </a:rPr>
                        <a:t> </a:t>
                      </a:r>
                      <a:r>
                        <a:rPr lang="es-419" sz="1200" dirty="0" smtClean="0">
                          <a:effectLst/>
                        </a:rPr>
                        <a:t>Actividades</a:t>
                      </a:r>
                      <a:r>
                        <a:rPr lang="es-419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8099" marR="48099" marT="0" marB="0"/>
                </a:tc>
              </a:tr>
              <a:tr h="5964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>
                          <a:effectLst/>
                        </a:rPr>
                        <a:t> </a:t>
                      </a:r>
                      <a:endParaRPr lang="en-US" sz="1200">
                        <a:effectLst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>
                          <a:effectLst/>
                        </a:rPr>
                        <a:t>15 min</a:t>
                      </a:r>
                      <a:endParaRPr lang="en-US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8099" marR="48099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>
                          <a:effectLst/>
                        </a:rPr>
                        <a:t> </a:t>
                      </a:r>
                      <a:r>
                        <a:rPr lang="es-419" sz="1200" dirty="0" smtClean="0">
                          <a:effectLst/>
                        </a:rPr>
                        <a:t> </a:t>
                      </a:r>
                      <a:r>
                        <a:rPr lang="es-419" sz="1200" dirty="0">
                          <a:effectLst/>
                        </a:rPr>
                        <a:t>Bienvenida y ronda de presentación de participantes </a:t>
                      </a:r>
                      <a:endParaRPr lang="en-US" sz="1200" dirty="0">
                        <a:effectLst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8099" marR="48099" marT="0" marB="0"/>
                </a:tc>
              </a:tr>
              <a:tr h="281191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>
                          <a:effectLst/>
                        </a:rPr>
                        <a:t>30 min 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8099" marR="48099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</a:endParaRPr>
                    </a:p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s-419" sz="1200" b="1" dirty="0">
                          <a:effectLst/>
                        </a:rPr>
                        <a:t>Introducción: </a:t>
                      </a:r>
                      <a:endParaRPr lang="en-US" sz="1200" b="1" dirty="0">
                        <a:effectLst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</a:endParaRPr>
                    </a:p>
                    <a:p>
                      <a:pPr marL="742950" marR="0" lvl="1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419" sz="1200" b="1" dirty="0">
                          <a:effectLst/>
                        </a:rPr>
                        <a:t>Desarrollo urbano sostenible</a:t>
                      </a:r>
                      <a:r>
                        <a:rPr lang="es-419" sz="1200" dirty="0">
                          <a:effectLst/>
                        </a:rPr>
                        <a:t>, agendas y acuerdos. La gestión de suelo en el desarrollo y financiamiento de las ciudades. Contexto normativo nacional. </a:t>
                      </a:r>
                      <a:endParaRPr lang="en-US" sz="1200" dirty="0">
                        <a:effectLst/>
                      </a:endParaRPr>
                    </a:p>
                    <a:p>
                      <a:pPr marL="742950" marR="0" lvl="1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419" sz="1200" b="1" dirty="0">
                          <a:effectLst/>
                        </a:rPr>
                        <a:t>La planificación urbana y territorial obligatoria para gobiernos locales y metropolitanos</a:t>
                      </a:r>
                      <a:r>
                        <a:rPr lang="es-419" sz="1200" dirty="0">
                          <a:effectLst/>
                        </a:rPr>
                        <a:t>. Articulación PMDOT y PUGS mediante el modelo territorial deseado. </a:t>
                      </a:r>
                      <a:endParaRPr lang="en-US" sz="1200" dirty="0">
                        <a:effectLst/>
                      </a:endParaRPr>
                    </a:p>
                    <a:p>
                      <a:pPr marL="742950" marR="0" lvl="1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419" sz="1200" b="1" dirty="0">
                          <a:effectLst/>
                        </a:rPr>
                        <a:t>Las herramientas de captura de plusvalía, para qué son y cómo se implementan? </a:t>
                      </a:r>
                      <a:r>
                        <a:rPr lang="es-419" sz="1200" dirty="0">
                          <a:effectLst/>
                        </a:rPr>
                        <a:t>Cuál es el objetivo de este tipo de herramientas? </a:t>
                      </a:r>
                      <a:endParaRPr lang="en-US" sz="1200" dirty="0">
                        <a:effectLst/>
                      </a:endParaRPr>
                    </a:p>
                    <a:p>
                      <a:pPr marL="742950" marR="0" lvl="1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419" sz="1200" b="1" dirty="0">
                          <a:effectLst/>
                        </a:rPr>
                        <a:t>Equidad territorial en el modelo de gestión urbano</a:t>
                      </a:r>
                      <a:r>
                        <a:rPr lang="es-419" sz="1200" dirty="0">
                          <a:effectLst/>
                        </a:rPr>
                        <a:t>.</a:t>
                      </a:r>
                      <a:endParaRPr lang="en-US" sz="1200" dirty="0">
                        <a:effectLst/>
                      </a:endParaRPr>
                    </a:p>
                    <a:p>
                      <a:pPr marL="45720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 smtClean="0">
                          <a:effectLst/>
                        </a:rPr>
                        <a:t>Previo </a:t>
                      </a:r>
                      <a:r>
                        <a:rPr lang="es-419" sz="1200" dirty="0">
                          <a:effectLst/>
                        </a:rPr>
                        <a:t>al taller se distribuye un resúmen ejecutivo con contenidos relacionados a las temáticas. 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8099" marR="48099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2684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0155078D-9C4D-4E76-9E27-FB8CCB51056F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" y="0"/>
            <a:ext cx="495302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ED05C4E6-FCBF-4715-ADC6-AE7A92B250EB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166507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F06A9F79-3EC7-49C6-B0F8-825766CB9BB7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75400" y="-5361049"/>
            <a:ext cx="428627" cy="1115072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4DA09D1F-3A95-4D36-8AA4-563FF431B480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64688" y="1083802"/>
            <a:ext cx="431005" cy="1115072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extBox 7">
            <a:extLst>
              <a:ext uri="{FF2B5EF4-FFF2-40B4-BE49-F238E27FC236}">
                <a16:creationId xmlns:a16="http://schemas.microsoft.com/office/drawing/2014/main" xmlns="" id="{7CC849E8-FB81-4945-87CA-89A1270FC088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774359" y="644060"/>
            <a:ext cx="10069132" cy="3416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s-MX" sz="1800" b="1" dirty="0" smtClean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lleres de intercambio de experiencias sobre Planificación Urbana y herramientas de gestión de suelo </a:t>
            </a:r>
            <a:endParaRPr lang="es-MX" sz="1800" b="1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Straight Arrow Connector 4">
            <a:extLst>
              <a:ext uri="{FF2B5EF4-FFF2-40B4-BE49-F238E27FC236}">
                <a16:creationId xmlns:a16="http://schemas.microsoft.com/office/drawing/2014/main" xmlns="" id="{65633C54-0E4F-4139-9DCE-F5C6B1FB427D}"/>
              </a:ext>
            </a:extLst>
          </p:cNvPr>
          <p:cNvCxnSpPr>
            <a:cxnSpLocks/>
          </p:cNvCxnSpPr>
          <p:nvPr/>
        </p:nvCxnSpPr>
        <p:spPr>
          <a:xfrm>
            <a:off x="875356" y="1045736"/>
            <a:ext cx="7446608" cy="0"/>
          </a:xfrm>
          <a:prstGeom prst="straightConnector1">
            <a:avLst/>
          </a:prstGeom>
          <a:ln w="6350"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pic>
        <p:nvPicPr>
          <p:cNvPr id="2053" name="Picture 6">
            <a:extLst>
              <a:ext uri="{FF2B5EF4-FFF2-40B4-BE49-F238E27FC236}">
                <a16:creationId xmlns:a16="http://schemas.microsoft.com/office/drawing/2014/main" xmlns="" id="{91295C7C-1E9F-4CEC-AB5F-7B03E1EF332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0653360" y="443436"/>
            <a:ext cx="1002194" cy="1135648"/>
          </a:xfrm>
          <a:prstGeom prst="rect">
            <a:avLst/>
          </a:prstGeom>
        </p:spPr>
      </p:pic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4333737"/>
              </p:ext>
            </p:extLst>
          </p:nvPr>
        </p:nvGraphicFramePr>
        <p:xfrm>
          <a:off x="1828799" y="1880648"/>
          <a:ext cx="8044874" cy="352272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42704"/>
                <a:gridCol w="6802170"/>
              </a:tblGrid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100" dirty="0" smtClean="0">
                          <a:effectLst/>
                        </a:rPr>
                        <a:t> </a:t>
                      </a:r>
                      <a:endParaRPr lang="en-US" sz="1100" dirty="0" smtClean="0">
                        <a:effectLst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 smtClean="0">
                          <a:effectLst/>
                        </a:rPr>
                        <a:t>1hora </a:t>
                      </a:r>
                      <a:endParaRPr lang="en-US" sz="1200" dirty="0" smtClean="0">
                        <a:effectLst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100" dirty="0" smtClean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22860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100" dirty="0" smtClean="0">
                          <a:effectLst/>
                        </a:rPr>
                        <a:t> </a:t>
                      </a:r>
                      <a:endParaRPr lang="en-US" sz="1100" dirty="0" smtClean="0">
                        <a:effectLst/>
                      </a:endParaRPr>
                    </a:p>
                    <a:p>
                      <a:pPr marL="0" marR="0" lvl="0" inden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s-419" sz="1200" dirty="0" smtClean="0">
                          <a:effectLst/>
                        </a:rPr>
                        <a:t>2. Operaciones urbanas exitosas en América Latina y su aplicabilidad en Quito: </a:t>
                      </a:r>
                    </a:p>
                    <a:p>
                      <a:pPr marL="0" marR="0" lvl="0" inden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s-419" sz="1200" dirty="0" smtClean="0">
                          <a:effectLst/>
                        </a:rPr>
                        <a:t>          análisis de casos (Sao Paulo, Bogotá)</a:t>
                      </a:r>
                    </a:p>
                    <a:p>
                      <a:pPr marL="0" marR="0" lvl="0" inden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s-419" sz="1200" dirty="0" smtClean="0">
                        <a:effectLst/>
                      </a:endParaRPr>
                    </a:p>
                    <a:p>
                      <a:pPr marL="0" marR="0" lvl="0" inden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s-419" sz="1200" b="0" dirty="0" smtClean="0">
                          <a:effectLst/>
                        </a:rPr>
                        <a:t>           Conexión virtual con experto/a regional</a:t>
                      </a:r>
                      <a:endParaRPr lang="en-US" sz="1200" b="0" dirty="0" smtClean="0">
                        <a:effectLst/>
                      </a:endParaRPr>
                    </a:p>
                    <a:p>
                      <a:pPr marL="45720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 smtClean="0">
                          <a:effectLst/>
                        </a:rPr>
                        <a:t> </a:t>
                      </a:r>
                      <a:endParaRPr lang="en-US" sz="1200" dirty="0" smtClean="0">
                        <a:effectLst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 smtClean="0">
                          <a:effectLst/>
                        </a:rPr>
                        <a:t>El objetivo </a:t>
                      </a:r>
                      <a:r>
                        <a:rPr lang="es-419" sz="1200" b="0" dirty="0" smtClean="0">
                          <a:effectLst/>
                        </a:rPr>
                        <a:t>de este espacio es presentar uno o varios casos regionales organizando y ajustando el contenido en base a la audiencia (concejales y su asesores). 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s-419" sz="1200" b="0" dirty="0" smtClean="0">
                        <a:effectLst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b="0" dirty="0" smtClean="0">
                          <a:effectLst/>
                        </a:rPr>
                        <a:t>¿Qué aspectos de la experiencia regional son aplicables en el contexto ecuatoriano?,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b="0" dirty="0" smtClean="0">
                          <a:effectLst/>
                        </a:rPr>
                        <a:t>cuáles son las prinicipales lecciones de la experiencia?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b="0" dirty="0" smtClean="0">
                          <a:effectLst/>
                        </a:rPr>
                        <a:t>Cómo y en qué momento participan los diferentes actores?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b="0" dirty="0" smtClean="0">
                          <a:effectLst/>
                        </a:rPr>
                        <a:t>Cómo se maneja la redistribución de los recursos capturados?</a:t>
                      </a:r>
                      <a:endParaRPr lang="en-US" sz="1200" b="0" dirty="0" smtClean="0">
                        <a:effectLst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 smtClean="0">
                          <a:effectLst/>
                        </a:rPr>
                        <a:t> </a:t>
                      </a:r>
                      <a:endParaRPr lang="en-US" sz="1200" dirty="0" smtClean="0">
                        <a:effectLst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dirty="0" smtClean="0">
                          <a:effectLst/>
                        </a:rPr>
                        <a:t>Se incluye en la guía del taller un abstract y perfil del expositor/a</a:t>
                      </a:r>
                      <a:endParaRPr lang="en-US" sz="1200" dirty="0" smtClean="0">
                        <a:effectLst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100" dirty="0" smtClean="0">
                          <a:effectLst/>
                        </a:rPr>
                        <a:t> </a:t>
                      </a:r>
                      <a:endParaRPr lang="en-US" sz="1100" dirty="0" smtClean="0">
                        <a:effectLst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100" dirty="0" smtClean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5062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0155078D-9C4D-4E76-9E27-FB8CCB51056F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" y="0"/>
            <a:ext cx="495302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ED05C4E6-FCBF-4715-ADC6-AE7A92B250EB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166507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F06A9F79-3EC7-49C6-B0F8-825766CB9BB7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75400" y="-5361049"/>
            <a:ext cx="428627" cy="1115072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4DA09D1F-3A95-4D36-8AA4-563FF431B480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64688" y="1083802"/>
            <a:ext cx="431005" cy="1115072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extBox 7">
            <a:extLst>
              <a:ext uri="{FF2B5EF4-FFF2-40B4-BE49-F238E27FC236}">
                <a16:creationId xmlns:a16="http://schemas.microsoft.com/office/drawing/2014/main" xmlns="" id="{7CC849E8-FB81-4945-87CA-89A1270FC088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774359" y="644060"/>
            <a:ext cx="10069132" cy="3416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s-MX" sz="1800" b="1" dirty="0" smtClean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lleres de intercambio de experiencias sobre Planificación Urbana y herramientas de gestión de suelo </a:t>
            </a:r>
            <a:endParaRPr lang="es-MX" sz="1800" b="1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Straight Arrow Connector 4">
            <a:extLst>
              <a:ext uri="{FF2B5EF4-FFF2-40B4-BE49-F238E27FC236}">
                <a16:creationId xmlns:a16="http://schemas.microsoft.com/office/drawing/2014/main" xmlns="" id="{65633C54-0E4F-4139-9DCE-F5C6B1FB427D}"/>
              </a:ext>
            </a:extLst>
          </p:cNvPr>
          <p:cNvCxnSpPr>
            <a:cxnSpLocks/>
          </p:cNvCxnSpPr>
          <p:nvPr/>
        </p:nvCxnSpPr>
        <p:spPr>
          <a:xfrm>
            <a:off x="875356" y="1045736"/>
            <a:ext cx="7446608" cy="0"/>
          </a:xfrm>
          <a:prstGeom prst="straightConnector1">
            <a:avLst/>
          </a:prstGeom>
          <a:ln w="6350"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pic>
        <p:nvPicPr>
          <p:cNvPr id="2053" name="Picture 6">
            <a:extLst>
              <a:ext uri="{FF2B5EF4-FFF2-40B4-BE49-F238E27FC236}">
                <a16:creationId xmlns:a16="http://schemas.microsoft.com/office/drawing/2014/main" xmlns="" id="{91295C7C-1E9F-4CEC-AB5F-7B03E1EF332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0653360" y="443436"/>
            <a:ext cx="1002194" cy="1135648"/>
          </a:xfrm>
          <a:prstGeom prst="rect">
            <a:avLst/>
          </a:prstGeom>
        </p:spPr>
      </p:pic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2231775"/>
              </p:ext>
            </p:extLst>
          </p:nvPr>
        </p:nvGraphicFramePr>
        <p:xfrm>
          <a:off x="1734767" y="1535701"/>
          <a:ext cx="8044874" cy="378659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42704"/>
                <a:gridCol w="6802170"/>
              </a:tblGrid>
              <a:tr h="378659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b="1" dirty="0" smtClean="0">
                          <a:effectLst/>
                        </a:rPr>
                        <a:t> </a:t>
                      </a:r>
                      <a:endParaRPr lang="en-US" sz="1200" b="1" dirty="0" smtClean="0">
                        <a:effectLst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b="1" dirty="0" smtClean="0">
                          <a:effectLst/>
                        </a:rPr>
                        <a:t>1  hora </a:t>
                      </a:r>
                      <a:endParaRPr lang="en-US" sz="1200" b="1" dirty="0" smtClean="0">
                        <a:effectLst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b="1" dirty="0" smtClean="0">
                          <a:effectLst/>
                        </a:rPr>
                        <a:t> </a:t>
                      </a:r>
                      <a:endParaRPr lang="en-US" sz="12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22860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b="1" dirty="0" smtClean="0">
                          <a:effectLst/>
                        </a:rPr>
                        <a:t> </a:t>
                      </a:r>
                      <a:endParaRPr lang="en-US" sz="1200" b="1" dirty="0" smtClean="0">
                        <a:effectLst/>
                      </a:endParaRPr>
                    </a:p>
                    <a:p>
                      <a:pPr marL="0" marR="0" lvl="0" inden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s-419" sz="1200" b="1" dirty="0" smtClean="0">
                          <a:effectLst/>
                        </a:rPr>
                        <a:t>3. Taller con</a:t>
                      </a:r>
                      <a:r>
                        <a:rPr lang="es-419" sz="1200" b="1" baseline="0" dirty="0" smtClean="0">
                          <a:effectLst/>
                        </a:rPr>
                        <a:t> ejercicio práctico </a:t>
                      </a:r>
                      <a:endParaRPr lang="es-419" sz="1200" b="1" dirty="0" smtClean="0">
                        <a:effectLst/>
                      </a:endParaRPr>
                    </a:p>
                    <a:p>
                      <a:pPr marL="0" marR="0" lvl="0" inden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s-419" sz="1200" b="1" dirty="0" smtClean="0">
                        <a:effectLst/>
                      </a:endParaRPr>
                    </a:p>
                    <a:p>
                      <a:pPr marL="45720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dirty="0" smtClean="0">
                        <a:effectLst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b="1" dirty="0" smtClean="0">
                          <a:effectLst/>
                        </a:rPr>
                        <a:t>El objetivo</a:t>
                      </a:r>
                      <a:r>
                        <a:rPr lang="es-419" sz="1200" b="0" dirty="0" smtClean="0">
                          <a:effectLst/>
                        </a:rPr>
                        <a:t> de este espacio </a:t>
                      </a:r>
                      <a:r>
                        <a:rPr lang="es-419" sz="1200" b="1" dirty="0" smtClean="0">
                          <a:effectLst/>
                        </a:rPr>
                        <a:t>aplicar los conceptos y forma</a:t>
                      </a:r>
                      <a:r>
                        <a:rPr lang="es-419" sz="1200" b="1" baseline="0" dirty="0" smtClean="0">
                          <a:effectLst/>
                        </a:rPr>
                        <a:t> basica </a:t>
                      </a:r>
                      <a:r>
                        <a:rPr lang="es-419" sz="1200" b="0" baseline="0" dirty="0" smtClean="0">
                          <a:effectLst/>
                        </a:rPr>
                        <a:t>de cáculo a casos particulares en Quito </a:t>
                      </a:r>
                    </a:p>
                    <a:p>
                      <a:r>
                        <a:rPr lang="es-419" sz="1200" b="0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1200" b="0" kern="1200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es-419" sz="1200" b="1" u="sng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mento 1. CÁLCULO: </a:t>
                      </a:r>
                      <a:r>
                        <a:rPr lang="es-419" sz="1200" b="0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alogar sobre las dificultades que se enfrentan para su aplicación, cómo modelar los valores a capturar? Existe un modelo de equidad territorial a nivel ciudad metropolitana que garantice una provisión equitatitva de bienes y servicios públicos, o en este caso de redistribución de la captura de valor?</a:t>
                      </a:r>
                      <a:endParaRPr lang="en-US" sz="1200" b="0" kern="1200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s-419" sz="1200" b="0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Trabajar con la guia elaborada sobre el caso de estudio. </a:t>
                      </a:r>
                      <a:endParaRPr lang="en-US" sz="1200" b="0" kern="1200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s-419" sz="1200" b="0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1200" b="1" kern="1200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es-419" sz="1200" b="1" u="sng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mento 2. GESTIÓN-</a:t>
                      </a:r>
                      <a:r>
                        <a:rPr lang="es-419" sz="1200" b="1" u="sng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peración urbana</a:t>
                      </a:r>
                      <a:r>
                        <a:rPr lang="es-419" sz="1200" b="1" u="sng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419" sz="1200" b="0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pear las instituciones y actores claves en </a:t>
                      </a:r>
                      <a:r>
                        <a:rPr lang="es-419" sz="1200" b="0" u="non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canismos de conseción onerosa de derechos en operaciones urbanísticas especiales </a:t>
                      </a:r>
                      <a:endParaRPr lang="en-US" sz="1200" b="0" u="none" kern="1200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s-419" sz="1200" b="0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1200" b="0" kern="1200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s-419" sz="1200" b="0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1200" b="0" kern="1200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s-419" sz="1200" b="0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Retroalimentación de experto/a regional y local  y cierre de actividad con los puntos más relevantes.  </a:t>
                      </a:r>
                      <a:r>
                        <a:rPr lang="es-419" sz="1200" b="1" dirty="0" smtClean="0">
                          <a:effectLst/>
                        </a:rPr>
                        <a:t> </a:t>
                      </a:r>
                      <a:endParaRPr lang="en-US" sz="1200" b="1" dirty="0" smtClean="0">
                        <a:effectLst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419" sz="1200" b="1" dirty="0" smtClean="0">
                          <a:effectLst/>
                        </a:rPr>
                        <a:t> </a:t>
                      </a:r>
                      <a:endParaRPr lang="en-US" sz="12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810327" y="5615709"/>
            <a:ext cx="72877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419" sz="1200" dirty="0" smtClean="0"/>
              <a:t>Se entrega a presidente de la Comisión de suelo el borrador de los talleres, sujeto a ajuste con la </a:t>
            </a:r>
          </a:p>
          <a:p>
            <a:r>
              <a:rPr lang="en-US" sz="1200" dirty="0" smtClean="0"/>
              <a:t>A</a:t>
            </a:r>
            <a:r>
              <a:rPr lang="es-419" sz="1200" dirty="0" smtClean="0"/>
              <a:t>sesoría de la experta contratada por CEPAL- profesora y planificadora urbana del Lincoln Institute for Land Policy </a:t>
            </a:r>
            <a:endParaRPr lang="es-419" sz="1200" dirty="0"/>
          </a:p>
        </p:txBody>
      </p:sp>
    </p:spTree>
    <p:extLst>
      <p:ext uri="{BB962C8B-B14F-4D97-AF65-F5344CB8AC3E}">
        <p14:creationId xmlns:p14="http://schemas.microsoft.com/office/powerpoint/2010/main" val="2191412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0155078D-9C4D-4E76-9E27-FB8CCB51056F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" y="0"/>
            <a:ext cx="495302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ED05C4E6-FCBF-4715-ADC6-AE7A92B250EB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166507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F06A9F79-3EC7-49C6-B0F8-825766CB9BB7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75400" y="-5361049"/>
            <a:ext cx="428627" cy="1115072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4DA09D1F-3A95-4D36-8AA4-563FF431B480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64688" y="1083802"/>
            <a:ext cx="431005" cy="1115072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22" name="Straight Arrow Connector 4">
            <a:extLst>
              <a:ext uri="{FF2B5EF4-FFF2-40B4-BE49-F238E27FC236}">
                <a16:creationId xmlns:a16="http://schemas.microsoft.com/office/drawing/2014/main" xmlns="" id="{65633C54-0E4F-4139-9DCE-F5C6B1FB427D}"/>
              </a:ext>
            </a:extLst>
          </p:cNvPr>
          <p:cNvCxnSpPr>
            <a:cxnSpLocks/>
          </p:cNvCxnSpPr>
          <p:nvPr/>
        </p:nvCxnSpPr>
        <p:spPr>
          <a:xfrm>
            <a:off x="875356" y="1045736"/>
            <a:ext cx="9395480" cy="0"/>
          </a:xfrm>
          <a:prstGeom prst="straightConnector1">
            <a:avLst/>
          </a:prstGeom>
          <a:ln w="6350"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3" name="CuadroTexto 12">
            <a:extLst>
              <a:ext uri="{FF2B5EF4-FFF2-40B4-BE49-F238E27FC236}">
                <a16:creationId xmlns:a16="http://schemas.microsoft.com/office/drawing/2014/main" xmlns="" id="{AA84E490-9253-4769-AFFE-F233632DB2DA}"/>
              </a:ext>
            </a:extLst>
          </p:cNvPr>
          <p:cNvSpPr txBox="1"/>
          <p:nvPr/>
        </p:nvSpPr>
        <p:spPr>
          <a:xfrm>
            <a:off x="613928" y="1572688"/>
            <a:ext cx="11041626" cy="3712683"/>
          </a:xfrm>
          <a:prstGeom prst="rect">
            <a:avLst/>
          </a:prstGeom>
          <a:noFill/>
          <a:ln w="9525">
            <a:noFill/>
          </a:ln>
        </p:spPr>
        <p:txBody>
          <a:bodyPr wrap="square" rtlCol="0">
            <a:spAutoFit/>
          </a:bodyPr>
          <a:lstStyle/>
          <a:p>
            <a:endParaRPr lang="es-MX" sz="2000" dirty="0">
              <a:latin typeface="Calibri" panose="020F0502020204030204" pitchFamily="34" charset="0"/>
            </a:endParaRPr>
          </a:p>
          <a:p>
            <a:r>
              <a:rPr lang="es-MX" sz="2000" b="1" dirty="0" smtClean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 pone en conocimiento y consideración en Comisión de Suelo del Concejo Metropolitano de Quito</a:t>
            </a:r>
          </a:p>
          <a:p>
            <a:r>
              <a:rPr lang="es-MX" sz="2000" b="1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s siguientes talleres y fechas: </a:t>
            </a:r>
            <a:endParaRPr lang="es-MX" sz="2000" b="1" dirty="0">
              <a:solidFill>
                <a:schemeClr val="accent5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s-MX" b="1" dirty="0">
              <a:solidFill>
                <a:srgbClr val="0070C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 smtClean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lnSpc>
                <a:spcPct val="107000"/>
              </a:lnSpc>
            </a:pPr>
            <a:endParaRPr lang="es-E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2000" b="1" dirty="0">
              <a:solidFill>
                <a:srgbClr val="0070C0"/>
              </a:solidFill>
              <a:latin typeface="Calibri" panose="020F0502020204030204" pitchFamily="34" charset="0"/>
            </a:endParaRPr>
          </a:p>
          <a:p>
            <a:endParaRPr lang="es-MX" sz="2000" b="1" dirty="0">
              <a:solidFill>
                <a:srgbClr val="0070C0"/>
              </a:solidFill>
              <a:latin typeface="Calibri" panose="020F0502020204030204" pitchFamily="34" charset="0"/>
            </a:endParaRPr>
          </a:p>
        </p:txBody>
      </p:sp>
      <p:sp>
        <p:nvSpPr>
          <p:cNvPr id="25" name="Rounded Rectangle 103">
            <a:extLst>
              <a:ext uri="{FF2B5EF4-FFF2-40B4-BE49-F238E27FC236}">
                <a16:creationId xmlns:a16="http://schemas.microsoft.com/office/drawing/2014/main" xmlns="" id="{CC0EE24D-43EE-4375-A6EE-CE93EDA882DB}"/>
              </a:ext>
            </a:extLst>
          </p:cNvPr>
          <p:cNvSpPr/>
          <p:nvPr/>
        </p:nvSpPr>
        <p:spPr>
          <a:xfrm>
            <a:off x="5379992" y="2937846"/>
            <a:ext cx="4148712" cy="890034"/>
          </a:xfrm>
          <a:prstGeom prst="roundRect">
            <a:avLst/>
          </a:prstGeom>
          <a:noFill/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pic>
        <p:nvPicPr>
          <p:cNvPr id="30" name="Gráfico 13" descr="Ciudad">
            <a:extLst>
              <a:ext uri="{FF2B5EF4-FFF2-40B4-BE49-F238E27FC236}">
                <a16:creationId xmlns:a16="http://schemas.microsoft.com/office/drawing/2014/main" xmlns="" id="{94A5DBBA-3E6C-42A7-9B23-DF3BBDB8BE9C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694792" y="3092738"/>
            <a:ext cx="452606" cy="515426"/>
          </a:xfrm>
          <a:prstGeom prst="rect">
            <a:avLst/>
          </a:prstGeom>
        </p:spPr>
      </p:pic>
      <p:sp>
        <p:nvSpPr>
          <p:cNvPr id="27" name="CuadroTexto 26">
            <a:extLst>
              <a:ext uri="{FF2B5EF4-FFF2-40B4-BE49-F238E27FC236}">
                <a16:creationId xmlns:a16="http://schemas.microsoft.com/office/drawing/2014/main" xmlns="" id="{D10CA3D3-F74F-4BB7-A695-A09A9D7F7364}"/>
              </a:ext>
            </a:extLst>
          </p:cNvPr>
          <p:cNvSpPr txBox="1"/>
          <p:nvPr/>
        </p:nvSpPr>
        <p:spPr>
          <a:xfrm>
            <a:off x="6496060" y="3190167"/>
            <a:ext cx="26120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solidFill>
                  <a:schemeClr val="accent2"/>
                </a:solidFill>
              </a:rPr>
              <a:t>Taller con Técnicos municipales </a:t>
            </a:r>
            <a:endParaRPr lang="es-CL" sz="1400" b="1" dirty="0">
              <a:solidFill>
                <a:schemeClr val="accent2"/>
              </a:solidFill>
            </a:endParaRPr>
          </a:p>
        </p:txBody>
      </p:sp>
      <p:sp>
        <p:nvSpPr>
          <p:cNvPr id="2048" name="Rounded Rectangle 103">
            <a:extLst>
              <a:ext uri="{FF2B5EF4-FFF2-40B4-BE49-F238E27FC236}">
                <a16:creationId xmlns:a16="http://schemas.microsoft.com/office/drawing/2014/main" xmlns="" id="{45AEF06F-70D7-44A2-A738-B2DE31E6FB66}"/>
              </a:ext>
            </a:extLst>
          </p:cNvPr>
          <p:cNvSpPr/>
          <p:nvPr/>
        </p:nvSpPr>
        <p:spPr>
          <a:xfrm>
            <a:off x="1383665" y="2937846"/>
            <a:ext cx="3754712" cy="890034"/>
          </a:xfrm>
          <a:prstGeom prst="roundRect">
            <a:avLst/>
          </a:prstGeom>
          <a:noFill/>
          <a:ln w="127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2049" name="CuadroTexto 2048">
            <a:extLst>
              <a:ext uri="{FF2B5EF4-FFF2-40B4-BE49-F238E27FC236}">
                <a16:creationId xmlns:a16="http://schemas.microsoft.com/office/drawing/2014/main" xmlns="" id="{7A6E8883-6392-485D-8CA8-F955DB72BA6C}"/>
              </a:ext>
            </a:extLst>
          </p:cNvPr>
          <p:cNvSpPr txBox="1"/>
          <p:nvPr/>
        </p:nvSpPr>
        <p:spPr>
          <a:xfrm>
            <a:off x="2151377" y="3082446"/>
            <a:ext cx="29839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 dirty="0" smtClean="0">
                <a:solidFill>
                  <a:schemeClr val="accent4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aller con Concejales y asesores </a:t>
            </a:r>
          </a:p>
          <a:p>
            <a:r>
              <a:rPr lang="es-MX" sz="1400" b="1" dirty="0" smtClean="0">
                <a:solidFill>
                  <a:schemeClr val="accent4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el Concejo Metropolitano de Quito</a:t>
            </a:r>
            <a:endParaRPr lang="es-CL" sz="1000" dirty="0">
              <a:solidFill>
                <a:schemeClr val="accent4"/>
              </a:solidFill>
            </a:endParaRPr>
          </a:p>
        </p:txBody>
      </p:sp>
      <p:pic>
        <p:nvPicPr>
          <p:cNvPr id="43" name="Gráfico 16" descr="Chateo">
            <a:extLst>
              <a:ext uri="{FF2B5EF4-FFF2-40B4-BE49-F238E27FC236}">
                <a16:creationId xmlns:a16="http://schemas.microsoft.com/office/drawing/2014/main" xmlns="" id="{6BB2B59F-D315-4BC3-BFBD-5E0825909637}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1416103" y="2976923"/>
            <a:ext cx="741296" cy="741006"/>
          </a:xfrm>
          <a:prstGeom prst="rect">
            <a:avLst/>
          </a:prstGeom>
        </p:spPr>
      </p:pic>
      <p:pic>
        <p:nvPicPr>
          <p:cNvPr id="2053" name="Picture 6">
            <a:extLst>
              <a:ext uri="{FF2B5EF4-FFF2-40B4-BE49-F238E27FC236}">
                <a16:creationId xmlns:a16="http://schemas.microsoft.com/office/drawing/2014/main" xmlns="" id="{91295C7C-1E9F-4CEC-AB5F-7B03E1EF3325}"/>
              </a:ext>
            </a:extLst>
          </p:cNvPr>
          <p:cNvPicPr/>
          <p:nvPr/>
        </p:nvPicPr>
        <p:blipFill>
          <a:blip r:embed="rId13"/>
          <a:stretch>
            <a:fillRect/>
          </a:stretch>
        </p:blipFill>
        <p:spPr>
          <a:xfrm>
            <a:off x="10653360" y="443436"/>
            <a:ext cx="1002194" cy="1135648"/>
          </a:xfrm>
          <a:prstGeom prst="rect">
            <a:avLst/>
          </a:prstGeom>
        </p:spPr>
      </p:pic>
      <p:sp>
        <p:nvSpPr>
          <p:cNvPr id="32" name="Rounded Rectangle 103">
            <a:extLst>
              <a:ext uri="{FF2B5EF4-FFF2-40B4-BE49-F238E27FC236}">
                <a16:creationId xmlns:a16="http://schemas.microsoft.com/office/drawing/2014/main" xmlns="" id="{45AEF06F-70D7-44A2-A738-B2DE31E6FB66}"/>
              </a:ext>
            </a:extLst>
          </p:cNvPr>
          <p:cNvSpPr/>
          <p:nvPr/>
        </p:nvSpPr>
        <p:spPr>
          <a:xfrm>
            <a:off x="1380595" y="3960228"/>
            <a:ext cx="3754712" cy="890034"/>
          </a:xfrm>
          <a:prstGeom prst="roundRect">
            <a:avLst/>
          </a:prstGeom>
          <a:noFill/>
          <a:ln w="127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35" name="CuadroTexto 2048">
            <a:extLst>
              <a:ext uri="{FF2B5EF4-FFF2-40B4-BE49-F238E27FC236}">
                <a16:creationId xmlns:a16="http://schemas.microsoft.com/office/drawing/2014/main" xmlns="" id="{7A6E8883-6392-485D-8CA8-F955DB72BA6C}"/>
              </a:ext>
            </a:extLst>
          </p:cNvPr>
          <p:cNvSpPr txBox="1"/>
          <p:nvPr/>
        </p:nvSpPr>
        <p:spPr>
          <a:xfrm>
            <a:off x="1921456" y="4143635"/>
            <a:ext cx="29839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 dirty="0" smtClean="0">
                <a:solidFill>
                  <a:schemeClr val="accent4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echa propuesta: </a:t>
            </a:r>
          </a:p>
          <a:p>
            <a:r>
              <a:rPr lang="es-MX" sz="1400" b="1" dirty="0" smtClean="0">
                <a:solidFill>
                  <a:schemeClr val="accent4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Jueves, 24 de Junio, 9h00 a 12h00</a:t>
            </a:r>
          </a:p>
        </p:txBody>
      </p:sp>
      <p:sp>
        <p:nvSpPr>
          <p:cNvPr id="36" name="Rounded Rectangle 103">
            <a:extLst>
              <a:ext uri="{FF2B5EF4-FFF2-40B4-BE49-F238E27FC236}">
                <a16:creationId xmlns:a16="http://schemas.microsoft.com/office/drawing/2014/main" xmlns="" id="{CC0EE24D-43EE-4375-A6EE-CE93EDA882DB}"/>
              </a:ext>
            </a:extLst>
          </p:cNvPr>
          <p:cNvSpPr/>
          <p:nvPr/>
        </p:nvSpPr>
        <p:spPr>
          <a:xfrm>
            <a:off x="5379992" y="3944219"/>
            <a:ext cx="4148712" cy="890034"/>
          </a:xfrm>
          <a:prstGeom prst="roundRect">
            <a:avLst/>
          </a:prstGeom>
          <a:noFill/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37" name="CuadroTexto 26">
            <a:extLst>
              <a:ext uri="{FF2B5EF4-FFF2-40B4-BE49-F238E27FC236}">
                <a16:creationId xmlns:a16="http://schemas.microsoft.com/office/drawing/2014/main" xmlns="" id="{D10CA3D3-F74F-4BB7-A695-A09A9D7F7364}"/>
              </a:ext>
            </a:extLst>
          </p:cNvPr>
          <p:cNvSpPr txBox="1"/>
          <p:nvPr/>
        </p:nvSpPr>
        <p:spPr>
          <a:xfrm>
            <a:off x="6147398" y="4098988"/>
            <a:ext cx="28802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solidFill>
                  <a:schemeClr val="accent2"/>
                </a:solidFill>
              </a:rPr>
              <a:t>Fecha propuesta:</a:t>
            </a:r>
          </a:p>
          <a:p>
            <a:r>
              <a:rPr lang="es-CL" sz="1400" b="1" dirty="0" smtClean="0">
                <a:solidFill>
                  <a:schemeClr val="accent2"/>
                </a:solidFill>
              </a:rPr>
              <a:t>Jueves, 1ro de Julio 9h00 a 17h00</a:t>
            </a:r>
            <a:endParaRPr lang="es-CL" sz="1400" b="1" dirty="0">
              <a:solidFill>
                <a:schemeClr val="accent2"/>
              </a:solidFill>
            </a:endParaRPr>
          </a:p>
        </p:txBody>
      </p:sp>
      <p:pic>
        <p:nvPicPr>
          <p:cNvPr id="38" name="Gráfico 11" descr="Cabeza con engranajes">
            <a:extLst>
              <a:ext uri="{FF2B5EF4-FFF2-40B4-BE49-F238E27FC236}">
                <a16:creationId xmlns:a16="http://schemas.microsoft.com/office/drawing/2014/main" xmlns="" id="{B96B36C6-E178-49A0-96AA-DEEC10BE311A}"/>
              </a:ext>
            </a:extLst>
          </p:cNvPr>
          <p:cNvPicPr/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350832" y="5258219"/>
            <a:ext cx="775589" cy="571373"/>
          </a:xfrm>
          <a:prstGeom prst="rect">
            <a:avLst/>
          </a:prstGeom>
        </p:spPr>
      </p:pic>
      <p:sp>
        <p:nvSpPr>
          <p:cNvPr id="39" name="Rounded Rectangle 103">
            <a:extLst>
              <a:ext uri="{FF2B5EF4-FFF2-40B4-BE49-F238E27FC236}">
                <a16:creationId xmlns:a16="http://schemas.microsoft.com/office/drawing/2014/main" xmlns="" id="{2DAB3D86-5BC5-4FF3-B4E6-81BFF6703812}"/>
              </a:ext>
            </a:extLst>
          </p:cNvPr>
          <p:cNvSpPr/>
          <p:nvPr/>
        </p:nvSpPr>
        <p:spPr>
          <a:xfrm>
            <a:off x="3326038" y="5199434"/>
            <a:ext cx="4229307" cy="782989"/>
          </a:xfrm>
          <a:prstGeom prst="roundRect">
            <a:avLst/>
          </a:prstGeom>
          <a:noFill/>
          <a:ln w="12700">
            <a:solidFill>
              <a:schemeClr val="accent6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40" name="CuadroTexto 7">
            <a:extLst>
              <a:ext uri="{FF2B5EF4-FFF2-40B4-BE49-F238E27FC236}">
                <a16:creationId xmlns:a16="http://schemas.microsoft.com/office/drawing/2014/main" xmlns="" id="{D04FC440-45AA-40AF-BC12-D6C9105EF270}"/>
              </a:ext>
            </a:extLst>
          </p:cNvPr>
          <p:cNvSpPr txBox="1"/>
          <p:nvPr/>
        </p:nvSpPr>
        <p:spPr>
          <a:xfrm>
            <a:off x="4076405" y="5294577"/>
            <a:ext cx="3377943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 smtClean="0">
                <a:solidFill>
                  <a:schemeClr val="accent6">
                    <a:lumMod val="7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vento de cierre </a:t>
            </a:r>
            <a:endParaRPr lang="es-ES" sz="1400" b="1" dirty="0">
              <a:solidFill>
                <a:schemeClr val="accent6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es-ES" sz="100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iembros del Concejo Metropolitano y técnicos municipales  </a:t>
            </a:r>
          </a:p>
          <a:p>
            <a:r>
              <a:rPr lang="es-ES" sz="100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echa propuesta: </a:t>
            </a:r>
            <a:r>
              <a:rPr lang="es-ES" sz="1000" b="1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Viernes 2 de Julio 9h00-11h00</a:t>
            </a:r>
            <a:r>
              <a:rPr lang="es-ES" sz="100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s-CL" sz="10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32107" y="672706"/>
            <a:ext cx="986653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16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alleres de intercambio de experiencias sobre </a:t>
            </a:r>
            <a:r>
              <a:rPr lang="es-MX" sz="16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LANIFICACIÓN URBANA Y HERRAMIENTAS DE GESTIÓN DE SUELO  </a:t>
            </a:r>
          </a:p>
        </p:txBody>
      </p:sp>
    </p:spTree>
    <p:extLst>
      <p:ext uri="{BB962C8B-B14F-4D97-AF65-F5344CB8AC3E}">
        <p14:creationId xmlns:p14="http://schemas.microsoft.com/office/powerpoint/2010/main" val="3360454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0155078D-9C4D-4E76-9E27-FB8CCB51056F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" y="0"/>
            <a:ext cx="495302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ED05C4E6-FCBF-4715-ADC6-AE7A92B250EB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166507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F06A9F79-3EC7-49C6-B0F8-825766CB9BB7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75400" y="-5361049"/>
            <a:ext cx="428627" cy="1115072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4DA09D1F-3A95-4D36-8AA4-563FF431B480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64688" y="1083802"/>
            <a:ext cx="431005" cy="1115072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extBox 7">
            <a:extLst>
              <a:ext uri="{FF2B5EF4-FFF2-40B4-BE49-F238E27FC236}">
                <a16:creationId xmlns:a16="http://schemas.microsoft.com/office/drawing/2014/main" xmlns="" id="{7CC849E8-FB81-4945-87CA-89A1270FC088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774359" y="644060"/>
            <a:ext cx="8494395" cy="3416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s-MX" sz="18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operación Interregional para la Implementación de la Nueva Agenda Urbana</a:t>
            </a:r>
          </a:p>
        </p:txBody>
      </p:sp>
      <p:cxnSp>
        <p:nvCxnSpPr>
          <p:cNvPr id="22" name="Straight Arrow Connector 4">
            <a:extLst>
              <a:ext uri="{FF2B5EF4-FFF2-40B4-BE49-F238E27FC236}">
                <a16:creationId xmlns:a16="http://schemas.microsoft.com/office/drawing/2014/main" xmlns="" id="{65633C54-0E4F-4139-9DCE-F5C6B1FB427D}"/>
              </a:ext>
            </a:extLst>
          </p:cNvPr>
          <p:cNvCxnSpPr>
            <a:cxnSpLocks/>
          </p:cNvCxnSpPr>
          <p:nvPr/>
        </p:nvCxnSpPr>
        <p:spPr>
          <a:xfrm>
            <a:off x="774359" y="1045736"/>
            <a:ext cx="6679989" cy="0"/>
          </a:xfrm>
          <a:prstGeom prst="straightConnector1">
            <a:avLst/>
          </a:prstGeom>
          <a:ln w="6350"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31" name="CuadroTexto 30">
            <a:extLst>
              <a:ext uri="{FF2B5EF4-FFF2-40B4-BE49-F238E27FC236}">
                <a16:creationId xmlns:a16="http://schemas.microsoft.com/office/drawing/2014/main" xmlns="" id="{EE097FF8-43F1-4F5F-81B2-554137896419}"/>
              </a:ext>
            </a:extLst>
          </p:cNvPr>
          <p:cNvSpPr txBox="1"/>
          <p:nvPr/>
        </p:nvSpPr>
        <p:spPr>
          <a:xfrm>
            <a:off x="1576253" y="1201124"/>
            <a:ext cx="8494396" cy="4185761"/>
          </a:xfrm>
          <a:prstGeom prst="rect">
            <a:avLst/>
          </a:prstGeom>
          <a:noFill/>
          <a:ln w="9525">
            <a:noFill/>
          </a:ln>
        </p:spPr>
        <p:txBody>
          <a:bodyPr wrap="square" rtlCol="0">
            <a:spAutoFit/>
          </a:bodyPr>
          <a:lstStyle/>
          <a:p>
            <a:pPr algn="ctr"/>
            <a:endParaRPr lang="es-MX" sz="5400" b="1" dirty="0">
              <a:solidFill>
                <a:schemeClr val="accent5">
                  <a:lumMod val="60000"/>
                  <a:lumOff val="40000"/>
                </a:schemeClr>
              </a:solidFill>
              <a:latin typeface="Calibri" panose="020F0502020204030204" pitchFamily="34" charset="0"/>
            </a:endParaRPr>
          </a:p>
          <a:p>
            <a:pPr algn="ctr"/>
            <a:r>
              <a:rPr lang="es-MX" sz="540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Gracias</a:t>
            </a:r>
          </a:p>
          <a:p>
            <a:pPr algn="ctr"/>
            <a:endParaRPr lang="es-MX" sz="5400" b="1" dirty="0">
              <a:solidFill>
                <a:schemeClr val="accent5">
                  <a:lumMod val="60000"/>
                  <a:lumOff val="40000"/>
                </a:schemeClr>
              </a:solidFill>
              <a:latin typeface="Calibri" panose="020F0502020204030204" pitchFamily="34" charset="0"/>
            </a:endParaRPr>
          </a:p>
          <a:p>
            <a:pPr algn="ctr"/>
            <a:r>
              <a:rPr lang="es-MX" b="1" dirty="0">
                <a:solidFill>
                  <a:srgbClr val="0070C0"/>
                </a:solidFill>
                <a:latin typeface="Calibri" panose="020F0502020204030204" pitchFamily="34" charset="0"/>
              </a:rPr>
              <a:t>Puntos Focales:</a:t>
            </a:r>
          </a:p>
          <a:p>
            <a:pPr algn="ctr"/>
            <a:endParaRPr lang="es-MX" sz="1400" b="1" dirty="0">
              <a:solidFill>
                <a:schemeClr val="accent5">
                  <a:lumMod val="60000"/>
                  <a:lumOff val="40000"/>
                </a:schemeClr>
              </a:solidFill>
              <a:latin typeface="Calibri" panose="020F0502020204030204" pitchFamily="34" charset="0"/>
            </a:endParaRPr>
          </a:p>
          <a:p>
            <a:pPr algn="ctr"/>
            <a:r>
              <a:rPr lang="es-MX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Diego </a:t>
            </a:r>
            <a:r>
              <a:rPr lang="es-MX" b="1" dirty="0" err="1" smtClean="0">
                <a:solidFill>
                  <a:srgbClr val="0070C0"/>
                </a:solidFill>
                <a:latin typeface="Calibri" panose="020F0502020204030204" pitchFamily="34" charset="0"/>
              </a:rPr>
              <a:t>Aulestia</a:t>
            </a:r>
            <a:r>
              <a:rPr lang="es-MX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 - Diego.Aulestia@cepal.org</a:t>
            </a:r>
          </a:p>
          <a:p>
            <a:pPr algn="ctr"/>
            <a:r>
              <a:rPr lang="es-MX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Fiona </a:t>
            </a:r>
            <a:r>
              <a:rPr lang="es-MX" b="1" dirty="0">
                <a:solidFill>
                  <a:srgbClr val="0070C0"/>
                </a:solidFill>
                <a:latin typeface="Calibri" panose="020F0502020204030204" pitchFamily="34" charset="0"/>
              </a:rPr>
              <a:t>Littlejohn-Carrillo – </a:t>
            </a:r>
            <a:r>
              <a:rPr lang="es-MX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Fiona.Littlejohn@cepal.org</a:t>
            </a:r>
          </a:p>
          <a:p>
            <a:pPr algn="ctr"/>
            <a:r>
              <a:rPr lang="es-MX" b="1" dirty="0" err="1" smtClean="0">
                <a:solidFill>
                  <a:srgbClr val="0070C0"/>
                </a:solidFill>
                <a:latin typeface="Calibri" panose="020F0502020204030204" pitchFamily="34" charset="0"/>
              </a:rPr>
              <a:t>Roi</a:t>
            </a:r>
            <a:r>
              <a:rPr lang="es-MX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 </a:t>
            </a:r>
            <a:r>
              <a:rPr lang="es-MX" b="1" dirty="0" err="1" smtClean="0">
                <a:solidFill>
                  <a:srgbClr val="0070C0"/>
                </a:solidFill>
                <a:latin typeface="Calibri" panose="020F0502020204030204" pitchFamily="34" charset="0"/>
              </a:rPr>
              <a:t>Chiti</a:t>
            </a:r>
            <a:r>
              <a:rPr lang="es-MX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 – </a:t>
            </a:r>
            <a:r>
              <a:rPr lang="es-MX" b="1" dirty="0" smtClean="0">
                <a:solidFill>
                  <a:srgbClr val="0070C0"/>
                </a:solidFill>
                <a:latin typeface="Calibri" panose="020F0502020204030204" pitchFamily="34" charset="0"/>
                <a:hlinkClick r:id="rId3"/>
              </a:rPr>
              <a:t>Roi.chiti@un.org</a:t>
            </a:r>
            <a:endParaRPr lang="es-MX" b="1" dirty="0" smtClean="0">
              <a:solidFill>
                <a:srgbClr val="0070C0"/>
              </a:solidFill>
              <a:latin typeface="Calibri" panose="020F0502020204030204" pitchFamily="34" charset="0"/>
            </a:endParaRPr>
          </a:p>
          <a:p>
            <a:pPr algn="ctr"/>
            <a:endParaRPr lang="es-MX" dirty="0">
              <a:solidFill>
                <a:srgbClr val="0070C0"/>
              </a:solidFill>
              <a:latin typeface="Calibri" panose="020F0502020204030204" pitchFamily="34" charset="0"/>
            </a:endParaRPr>
          </a:p>
        </p:txBody>
      </p:sp>
      <p:pic>
        <p:nvPicPr>
          <p:cNvPr id="17" name="Picture 6">
            <a:extLst>
              <a:ext uri="{FF2B5EF4-FFF2-40B4-BE49-F238E27FC236}">
                <a16:creationId xmlns:a16="http://schemas.microsoft.com/office/drawing/2014/main" xmlns="" id="{A0AB9A36-FE5E-48E1-B9FE-F2AA99039755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4651513" y="5298807"/>
            <a:ext cx="902150" cy="996249"/>
          </a:xfrm>
          <a:prstGeom prst="rect">
            <a:avLst/>
          </a:prstGeom>
        </p:spPr>
      </p:pic>
      <p:pic>
        <p:nvPicPr>
          <p:cNvPr id="18" name="Imagen 12" descr="Logotipo, nombre de la empresa&#10;&#10;Descripción generada automáticamente">
            <a:extLst>
              <a:ext uri="{FF2B5EF4-FFF2-40B4-BE49-F238E27FC236}">
                <a16:creationId xmlns:a16="http://schemas.microsoft.com/office/drawing/2014/main" xmlns="" id="{10C9926A-22AB-4EBA-894F-FE86DEF8181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2187" y="5195914"/>
            <a:ext cx="2170717" cy="1202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983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28" name="Rectangle 70">
            <a:extLst>
              <a:ext uri="{FF2B5EF4-FFF2-40B4-BE49-F238E27FC236}">
                <a16:creationId xmlns:a16="http://schemas.microsoft.com/office/drawing/2014/main" xmlns="" id="{2D2B266D-3625-4584-A5C3-7D3F672CFF3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0155078D-9C4D-4E76-9E27-FB8CCB51056F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" y="0"/>
            <a:ext cx="495302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ED05C4E6-FCBF-4715-ADC6-AE7A92B250EB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166507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F06A9F79-3EC7-49C6-B0F8-825766CB9BB7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75400" y="-5361049"/>
            <a:ext cx="428627" cy="1115072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4DA09D1F-3A95-4D36-8AA4-563FF431B480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64688" y="1083802"/>
            <a:ext cx="431005" cy="1115072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extBox 7">
            <a:extLst>
              <a:ext uri="{FF2B5EF4-FFF2-40B4-BE49-F238E27FC236}">
                <a16:creationId xmlns:a16="http://schemas.microsoft.com/office/drawing/2014/main" xmlns="" id="{7CC849E8-FB81-4945-87CA-89A1270FC088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774359" y="644060"/>
            <a:ext cx="8494395" cy="3416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s-MX" sz="18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operación Interregional para la Implementación de la Nueva Agenda Urbana</a:t>
            </a:r>
          </a:p>
        </p:txBody>
      </p:sp>
      <p:cxnSp>
        <p:nvCxnSpPr>
          <p:cNvPr id="22" name="Straight Arrow Connector 4">
            <a:extLst>
              <a:ext uri="{FF2B5EF4-FFF2-40B4-BE49-F238E27FC236}">
                <a16:creationId xmlns:a16="http://schemas.microsoft.com/office/drawing/2014/main" xmlns="" id="{65633C54-0E4F-4139-9DCE-F5C6B1FB427D}"/>
              </a:ext>
            </a:extLst>
          </p:cNvPr>
          <p:cNvCxnSpPr>
            <a:cxnSpLocks/>
          </p:cNvCxnSpPr>
          <p:nvPr/>
        </p:nvCxnSpPr>
        <p:spPr>
          <a:xfrm>
            <a:off x="774359" y="1045736"/>
            <a:ext cx="6679989" cy="0"/>
          </a:xfrm>
          <a:prstGeom prst="straightConnector1">
            <a:avLst/>
          </a:prstGeom>
          <a:ln w="6350"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31" name="CuadroTexto 30">
            <a:extLst>
              <a:ext uri="{FF2B5EF4-FFF2-40B4-BE49-F238E27FC236}">
                <a16:creationId xmlns:a16="http://schemas.microsoft.com/office/drawing/2014/main" xmlns="" id="{EE097FF8-43F1-4F5F-81B2-554137896419}"/>
              </a:ext>
            </a:extLst>
          </p:cNvPr>
          <p:cNvSpPr txBox="1"/>
          <p:nvPr/>
        </p:nvSpPr>
        <p:spPr>
          <a:xfrm>
            <a:off x="1576253" y="1201124"/>
            <a:ext cx="8494396" cy="4893647"/>
          </a:xfrm>
          <a:prstGeom prst="rect">
            <a:avLst/>
          </a:prstGeom>
          <a:noFill/>
          <a:ln w="9525">
            <a:noFill/>
          </a:ln>
        </p:spPr>
        <p:txBody>
          <a:bodyPr wrap="square" rtlCol="0">
            <a:spAutoFit/>
          </a:bodyPr>
          <a:lstStyle/>
          <a:p>
            <a:r>
              <a:rPr lang="es-MX" sz="2000" b="1" dirty="0">
                <a:solidFill>
                  <a:srgbClr val="FF0000"/>
                </a:solidFill>
                <a:latin typeface="Calibri" panose="020F0502020204030204" pitchFamily="34" charset="0"/>
              </a:rPr>
              <a:t>Antecedentes</a:t>
            </a:r>
          </a:p>
          <a:p>
            <a:endParaRPr lang="es-MX" b="1" dirty="0">
              <a:solidFill>
                <a:srgbClr val="0070C0"/>
              </a:solidFill>
              <a:latin typeface="Calibri" panose="020F0502020204030204" pitchFamily="34" charset="0"/>
            </a:endParaRPr>
          </a:p>
          <a:p>
            <a:r>
              <a:rPr lang="es-MX" b="1" dirty="0">
                <a:solidFill>
                  <a:srgbClr val="0070C0"/>
                </a:solidFill>
                <a:latin typeface="Calibri" panose="020F0502020204030204" pitchFamily="34" charset="0"/>
              </a:rPr>
              <a:t>CEPAL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Crecientes solicitudes de asistencia 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de gobiernos nacionales y locales pidiendo apoyo para la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transversalización de la NUA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  en sus planes y políticas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La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Unidad de Asentamientos Humanos  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recibió el mandato de la MINURVI para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liderar el desarrollo del PAR 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para la implementación de la NUA y ha brindando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asistencia técnica a  la presidencia de MINURVI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Compromisos para desarrollar un mecanismo para monitorear el progreso hacia la implementación de agendas de desarrollo urbano en ALC –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Plataforma Urbana y de Ciudades de ALC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.</a:t>
            </a:r>
          </a:p>
          <a:p>
            <a:pPr algn="just"/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just"/>
            <a:r>
              <a:rPr lang="es-MX" b="1" dirty="0">
                <a:solidFill>
                  <a:srgbClr val="0070C0"/>
                </a:solidFill>
                <a:latin typeface="Calibri" panose="020F0502020204030204" pitchFamily="34" charset="0"/>
              </a:rPr>
              <a:t>ONU HABITAT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Durante más de 40 años, ha sido el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punto foca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l en el sistema de las Naciones Unidas para la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urbanización sostenible.</a:t>
            </a:r>
          </a:p>
          <a:p>
            <a:pPr algn="just"/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Demanda  creciente 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de su experiencia por de los Estados Miembros para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apoyar a construir capacidad de conocimiento y formulación de políticas que promuevan la urbanización sostenible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Actúa como punto focal para la implementación y monitoreo de la NUA y ODS 11 y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desarrolla herramientas para su implementación y seguimiento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.</a:t>
            </a:r>
          </a:p>
        </p:txBody>
      </p:sp>
      <p:pic>
        <p:nvPicPr>
          <p:cNvPr id="37" name="Picture 122">
            <a:extLst>
              <a:ext uri="{FF2B5EF4-FFF2-40B4-BE49-F238E27FC236}">
                <a16:creationId xmlns:a16="http://schemas.microsoft.com/office/drawing/2014/main" xmlns="" id="{800F6129-B770-4158-B13B-8BCEFB3C86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0096" y="2131149"/>
            <a:ext cx="289979" cy="290218"/>
          </a:xfrm>
          <a:prstGeom prst="rect">
            <a:avLst/>
          </a:prstGeom>
        </p:spPr>
      </p:pic>
      <p:pic>
        <p:nvPicPr>
          <p:cNvPr id="38" name="Picture 122">
            <a:extLst>
              <a:ext uri="{FF2B5EF4-FFF2-40B4-BE49-F238E27FC236}">
                <a16:creationId xmlns:a16="http://schemas.microsoft.com/office/drawing/2014/main" xmlns="" id="{11F69785-949E-455B-BA7C-1B7FEABBBE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2235" y="2762443"/>
            <a:ext cx="289979" cy="290218"/>
          </a:xfrm>
          <a:prstGeom prst="rect">
            <a:avLst/>
          </a:prstGeom>
        </p:spPr>
      </p:pic>
      <p:pic>
        <p:nvPicPr>
          <p:cNvPr id="40" name="Picture 122">
            <a:extLst>
              <a:ext uri="{FF2B5EF4-FFF2-40B4-BE49-F238E27FC236}">
                <a16:creationId xmlns:a16="http://schemas.microsoft.com/office/drawing/2014/main" xmlns="" id="{9607EA35-4993-4BF6-ACD7-3ACCB75E38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0096" y="3444126"/>
            <a:ext cx="289979" cy="290218"/>
          </a:xfrm>
          <a:prstGeom prst="rect">
            <a:avLst/>
          </a:prstGeom>
        </p:spPr>
      </p:pic>
      <p:pic>
        <p:nvPicPr>
          <p:cNvPr id="49" name="Picture 122">
            <a:extLst>
              <a:ext uri="{FF2B5EF4-FFF2-40B4-BE49-F238E27FC236}">
                <a16:creationId xmlns:a16="http://schemas.microsoft.com/office/drawing/2014/main" xmlns="" id="{C948B72A-1654-4419-B564-97429F93AA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796" y="4351551"/>
            <a:ext cx="274284" cy="274510"/>
          </a:xfrm>
          <a:prstGeom prst="rect">
            <a:avLst/>
          </a:prstGeom>
        </p:spPr>
      </p:pic>
      <p:pic>
        <p:nvPicPr>
          <p:cNvPr id="51" name="Picture 122">
            <a:extLst>
              <a:ext uri="{FF2B5EF4-FFF2-40B4-BE49-F238E27FC236}">
                <a16:creationId xmlns:a16="http://schemas.microsoft.com/office/drawing/2014/main" xmlns="" id="{C984ACC9-3CBF-4E84-8D17-EA0FF44B43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4172" y="4948651"/>
            <a:ext cx="274284" cy="274510"/>
          </a:xfrm>
          <a:prstGeom prst="rect">
            <a:avLst/>
          </a:prstGeom>
        </p:spPr>
      </p:pic>
      <p:pic>
        <p:nvPicPr>
          <p:cNvPr id="53" name="Picture 122">
            <a:extLst>
              <a:ext uri="{FF2B5EF4-FFF2-40B4-BE49-F238E27FC236}">
                <a16:creationId xmlns:a16="http://schemas.microsoft.com/office/drawing/2014/main" xmlns="" id="{3E6F4C21-AC07-4DEE-BEEB-40F648EACA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9262" y="5572052"/>
            <a:ext cx="274284" cy="274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1437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28" name="Rectangle 70">
            <a:extLst>
              <a:ext uri="{FF2B5EF4-FFF2-40B4-BE49-F238E27FC236}">
                <a16:creationId xmlns:a16="http://schemas.microsoft.com/office/drawing/2014/main" xmlns="" id="{2D2B266D-3625-4584-A5C3-7D3F672CFF3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0155078D-9C4D-4E76-9E27-FB8CCB51056F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" y="0"/>
            <a:ext cx="495302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ED05C4E6-FCBF-4715-ADC6-AE7A92B250EB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166507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F06A9F79-3EC7-49C6-B0F8-825766CB9BB7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75400" y="-5361049"/>
            <a:ext cx="428627" cy="1115072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4DA09D1F-3A95-4D36-8AA4-563FF431B480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64688" y="1083802"/>
            <a:ext cx="431005" cy="1115072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extBox 7">
            <a:extLst>
              <a:ext uri="{FF2B5EF4-FFF2-40B4-BE49-F238E27FC236}">
                <a16:creationId xmlns:a16="http://schemas.microsoft.com/office/drawing/2014/main" xmlns="" id="{7CC849E8-FB81-4945-87CA-89A1270FC088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774359" y="644060"/>
            <a:ext cx="8494395" cy="3416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s-MX" sz="18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operación Interregional para la Implementación de la Nueva Agenda Urbana</a:t>
            </a:r>
          </a:p>
        </p:txBody>
      </p:sp>
      <p:cxnSp>
        <p:nvCxnSpPr>
          <p:cNvPr id="22" name="Straight Arrow Connector 4">
            <a:extLst>
              <a:ext uri="{FF2B5EF4-FFF2-40B4-BE49-F238E27FC236}">
                <a16:creationId xmlns:a16="http://schemas.microsoft.com/office/drawing/2014/main" xmlns="" id="{65633C54-0E4F-4139-9DCE-F5C6B1FB427D}"/>
              </a:ext>
            </a:extLst>
          </p:cNvPr>
          <p:cNvCxnSpPr>
            <a:cxnSpLocks/>
          </p:cNvCxnSpPr>
          <p:nvPr/>
        </p:nvCxnSpPr>
        <p:spPr>
          <a:xfrm>
            <a:off x="774359" y="1045736"/>
            <a:ext cx="6679989" cy="0"/>
          </a:xfrm>
          <a:prstGeom prst="straightConnector1">
            <a:avLst/>
          </a:prstGeom>
          <a:ln w="6350"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3" name="CuadroTexto 12">
            <a:extLst>
              <a:ext uri="{FF2B5EF4-FFF2-40B4-BE49-F238E27FC236}">
                <a16:creationId xmlns:a16="http://schemas.microsoft.com/office/drawing/2014/main" xmlns="" id="{AA84E490-9253-4769-AFFE-F233632DB2DA}"/>
              </a:ext>
            </a:extLst>
          </p:cNvPr>
          <p:cNvSpPr txBox="1"/>
          <p:nvPr/>
        </p:nvSpPr>
        <p:spPr>
          <a:xfrm>
            <a:off x="1273978" y="1352995"/>
            <a:ext cx="8638117" cy="4524315"/>
          </a:xfrm>
          <a:prstGeom prst="rect">
            <a:avLst/>
          </a:prstGeom>
          <a:noFill/>
          <a:ln w="9525">
            <a:noFill/>
          </a:ln>
        </p:spPr>
        <p:txBody>
          <a:bodyPr wrap="square" rtlCol="0">
            <a:spAutoFit/>
          </a:bodyPr>
          <a:lstStyle/>
          <a:p>
            <a:r>
              <a:rPr lang="es-MX" sz="2000" b="1" dirty="0">
                <a:solidFill>
                  <a:srgbClr val="FF0000"/>
                </a:solidFill>
                <a:latin typeface="Calibri" panose="020F0502020204030204" pitchFamily="34" charset="0"/>
              </a:rPr>
              <a:t>Objetivos del Proyecto</a:t>
            </a:r>
          </a:p>
          <a:p>
            <a:endParaRPr lang="es-MX" sz="2000" b="1" dirty="0">
              <a:solidFill>
                <a:srgbClr val="0070C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Aprovechar el potencial de los encargados de formular políticas y de la toma de decisiones en los gobiernos nacionales y locales para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desarrollar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políticas innovadoras intersectoriales 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para la implementación de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la Nueva Agenda Urbana (NAU) 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y la localización de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la Agenda 2030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</a:rPr>
              <a:t>.  </a:t>
            </a:r>
          </a:p>
          <a:p>
            <a:pPr algn="just"/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mentar la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herencia de las políticas 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tre Estados miembros en todas las regiones y promoverán la mejora de las capacidades de las instituciones y otros agentes de cambio en la implementación y seguimiento de la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genda 2030 y la Nueva Agenda Urbana (NAU). </a:t>
            </a:r>
          </a:p>
          <a:p>
            <a:pPr algn="just"/>
            <a:endParaRPr lang="es-MX" sz="1400" dirty="0">
              <a:solidFill>
                <a:schemeClr val="accent5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MX" sz="1400" dirty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ulsar una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lementación amplia e inclusiva 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 la NAU y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cilitar una mejor coordinación y colaboración </a:t>
            </a:r>
            <a:r>
              <a:rPr lang="es-MX" sz="1400" b="1" dirty="0" err="1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ulti-actor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multisectorial y multinivel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regional, nacional, local) para integrar mejor el conocimiento de las dimensiones complejas y multifacéticas de la planificación y el desarrollo urbanos sostenibles</a:t>
            </a:r>
          </a:p>
          <a:p>
            <a:pPr algn="just"/>
            <a:endParaRPr lang="es-MX" sz="1400" dirty="0">
              <a:solidFill>
                <a:schemeClr val="accent5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MX" sz="1400" dirty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ablecer y fortalecer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ecanismos para compartir buenas prácticas e información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levante y  con pertinencia regional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Facilitar un proceso inclusivo de seguimiento regional y presentación de informes sobre urbanización sostenible.</a:t>
            </a:r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endParaRPr lang="es-MX" sz="2000" b="1" dirty="0">
              <a:solidFill>
                <a:srgbClr val="0070C0"/>
              </a:solidFill>
              <a:latin typeface="Calibri" panose="020F0502020204030204" pitchFamily="34" charset="0"/>
            </a:endParaRPr>
          </a:p>
          <a:p>
            <a:endParaRPr lang="es-MX" sz="2000" b="1" dirty="0">
              <a:solidFill>
                <a:srgbClr val="0070C0"/>
              </a:solidFill>
              <a:latin typeface="Calibri" panose="020F0502020204030204" pitchFamily="34" charset="0"/>
            </a:endParaRPr>
          </a:p>
        </p:txBody>
      </p:sp>
      <p:pic>
        <p:nvPicPr>
          <p:cNvPr id="41" name="Picture 122">
            <a:extLst>
              <a:ext uri="{FF2B5EF4-FFF2-40B4-BE49-F238E27FC236}">
                <a16:creationId xmlns:a16="http://schemas.microsoft.com/office/drawing/2014/main" xmlns="" id="{2E1DC317-CA16-44C0-833D-734B0DBC41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2617" y="2052054"/>
            <a:ext cx="274284" cy="274510"/>
          </a:xfrm>
          <a:prstGeom prst="rect">
            <a:avLst/>
          </a:prstGeom>
        </p:spPr>
      </p:pic>
      <p:pic>
        <p:nvPicPr>
          <p:cNvPr id="43" name="Picture 122">
            <a:extLst>
              <a:ext uri="{FF2B5EF4-FFF2-40B4-BE49-F238E27FC236}">
                <a16:creationId xmlns:a16="http://schemas.microsoft.com/office/drawing/2014/main" xmlns="" id="{20073283-3AD9-4E68-BBE4-FFA6A69EBA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2617" y="2788747"/>
            <a:ext cx="274284" cy="274510"/>
          </a:xfrm>
          <a:prstGeom prst="rect">
            <a:avLst/>
          </a:prstGeom>
        </p:spPr>
      </p:pic>
      <p:pic>
        <p:nvPicPr>
          <p:cNvPr id="45" name="Picture 122">
            <a:extLst>
              <a:ext uri="{FF2B5EF4-FFF2-40B4-BE49-F238E27FC236}">
                <a16:creationId xmlns:a16="http://schemas.microsoft.com/office/drawing/2014/main" xmlns="" id="{61EF110B-1155-4F3D-8EC0-D7EFAFF5A3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2617" y="3650378"/>
            <a:ext cx="274284" cy="274510"/>
          </a:xfrm>
          <a:prstGeom prst="rect">
            <a:avLst/>
          </a:prstGeom>
        </p:spPr>
      </p:pic>
      <p:pic>
        <p:nvPicPr>
          <p:cNvPr id="47" name="Picture 122">
            <a:extLst>
              <a:ext uri="{FF2B5EF4-FFF2-40B4-BE49-F238E27FC236}">
                <a16:creationId xmlns:a16="http://schemas.microsoft.com/office/drawing/2014/main" xmlns="" id="{0585AE72-EA28-4D4A-88D5-AA1105E135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2617" y="4512009"/>
            <a:ext cx="274284" cy="274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1529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28" name="Rectangle 70">
            <a:extLst>
              <a:ext uri="{FF2B5EF4-FFF2-40B4-BE49-F238E27FC236}">
                <a16:creationId xmlns:a16="http://schemas.microsoft.com/office/drawing/2014/main" xmlns="" id="{2D2B266D-3625-4584-A5C3-7D3F672CFF3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0155078D-9C4D-4E76-9E27-FB8CCB51056F}"/>
              </a:ext>
            </a:extLst>
          </p:cNvPr>
          <p:cNvPicPr/>
          <p:nvPr/>
        </p:nvPicPr>
        <p:blipFill rotWithShape="1">
          <a:blip r:embed="rId3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" y="0"/>
            <a:ext cx="495302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ED05C4E6-FCBF-4715-ADC6-AE7A92B250EB}"/>
              </a:ext>
            </a:extLst>
          </p:cNvPr>
          <p:cNvPicPr/>
          <p:nvPr/>
        </p:nvPicPr>
        <p:blipFill rotWithShape="1">
          <a:blip r:embed="rId3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166507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F06A9F79-3EC7-49C6-B0F8-825766CB9BB7}"/>
              </a:ext>
            </a:extLst>
          </p:cNvPr>
          <p:cNvPicPr/>
          <p:nvPr/>
        </p:nvPicPr>
        <p:blipFill rotWithShape="1">
          <a:blip r:embed="rId3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75400" y="-5361049"/>
            <a:ext cx="428627" cy="1115072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4DA09D1F-3A95-4D36-8AA4-563FF431B480}"/>
              </a:ext>
            </a:extLst>
          </p:cNvPr>
          <p:cNvPicPr/>
          <p:nvPr/>
        </p:nvPicPr>
        <p:blipFill rotWithShape="1">
          <a:blip r:embed="rId3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64688" y="1083802"/>
            <a:ext cx="431005" cy="1115072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extBox 7">
            <a:extLst>
              <a:ext uri="{FF2B5EF4-FFF2-40B4-BE49-F238E27FC236}">
                <a16:creationId xmlns:a16="http://schemas.microsoft.com/office/drawing/2014/main" xmlns="" id="{7CC849E8-FB81-4945-87CA-89A1270FC088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774359" y="644060"/>
            <a:ext cx="8494395" cy="3416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s-MX" sz="18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operación Interregional para la Implementación de la Nueva Agenda Urbana</a:t>
            </a:r>
          </a:p>
        </p:txBody>
      </p:sp>
      <p:cxnSp>
        <p:nvCxnSpPr>
          <p:cNvPr id="22" name="Straight Arrow Connector 4">
            <a:extLst>
              <a:ext uri="{FF2B5EF4-FFF2-40B4-BE49-F238E27FC236}">
                <a16:creationId xmlns:a16="http://schemas.microsoft.com/office/drawing/2014/main" xmlns="" id="{65633C54-0E4F-4139-9DCE-F5C6B1FB427D}"/>
              </a:ext>
            </a:extLst>
          </p:cNvPr>
          <p:cNvCxnSpPr>
            <a:cxnSpLocks/>
          </p:cNvCxnSpPr>
          <p:nvPr/>
        </p:nvCxnSpPr>
        <p:spPr>
          <a:xfrm>
            <a:off x="774359" y="1045736"/>
            <a:ext cx="6679989" cy="0"/>
          </a:xfrm>
          <a:prstGeom prst="straightConnector1">
            <a:avLst/>
          </a:prstGeom>
          <a:ln w="6350"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3" name="CuadroTexto 12">
            <a:extLst>
              <a:ext uri="{FF2B5EF4-FFF2-40B4-BE49-F238E27FC236}">
                <a16:creationId xmlns:a16="http://schemas.microsoft.com/office/drawing/2014/main" xmlns="" id="{AA84E490-9253-4769-AFFE-F233632DB2DA}"/>
              </a:ext>
            </a:extLst>
          </p:cNvPr>
          <p:cNvSpPr txBox="1"/>
          <p:nvPr/>
        </p:nvSpPr>
        <p:spPr>
          <a:xfrm>
            <a:off x="774359" y="1320293"/>
            <a:ext cx="9777484" cy="584775"/>
          </a:xfrm>
          <a:prstGeom prst="rect">
            <a:avLst/>
          </a:prstGeom>
          <a:noFill/>
          <a:ln w="9525">
            <a:noFill/>
          </a:ln>
        </p:spPr>
        <p:txBody>
          <a:bodyPr wrap="square" rtlCol="0">
            <a:spAutoFit/>
          </a:bodyPr>
          <a:lstStyle/>
          <a:p>
            <a:r>
              <a:rPr lang="es-MX" sz="1600" b="1" dirty="0">
                <a:solidFill>
                  <a:srgbClr val="0070C0"/>
                </a:solidFill>
                <a:latin typeface="Calibri" panose="020F0502020204030204" pitchFamily="34" charset="0"/>
              </a:rPr>
              <a:t>El enfoque del proyecto es interregional por lo que cubre nueve (9) países de todo el mundo y una ciudad en cada uno de estos países: </a:t>
            </a: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xmlns="" id="{3A6A2155-DE25-4A91-A57E-C8F24020F429}"/>
              </a:ext>
            </a:extLst>
          </p:cNvPr>
          <p:cNvGrpSpPr/>
          <p:nvPr/>
        </p:nvGrpSpPr>
        <p:grpSpPr>
          <a:xfrm>
            <a:off x="1798984" y="2047461"/>
            <a:ext cx="7850808" cy="4336156"/>
            <a:chOff x="677863" y="1196975"/>
            <a:chExt cx="7500937" cy="4260850"/>
          </a:xfrm>
        </p:grpSpPr>
        <p:sp>
          <p:nvSpPr>
            <p:cNvPr id="12" name="Freeform 4">
              <a:extLst>
                <a:ext uri="{FF2B5EF4-FFF2-40B4-BE49-F238E27FC236}">
                  <a16:creationId xmlns:a16="http://schemas.microsoft.com/office/drawing/2014/main" xmlns="" id="{07719DD9-5BAA-4F00-A734-4488692B93EF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519363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xmlns="" id="{B43BE2E8-930A-4FDD-8099-3BA7FB5322FC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77863" y="1495425"/>
              <a:ext cx="784225" cy="446088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xmlns="" id="{580B008B-E8D6-4760-9E4D-617765871022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138238" y="2111375"/>
              <a:ext cx="1381125" cy="769938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xmlns="" id="{351E65D6-05D0-4E0A-B73A-D675841A43CA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971675" y="3662363"/>
              <a:ext cx="339725" cy="5905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xmlns="" id="{EE78DB08-D125-40D0-9499-43490A990C65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271713" y="4225925"/>
              <a:ext cx="261937" cy="1130300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xmlns="" id="{0CF67552-C78A-40AD-9808-5A6AC5A751AE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176463" y="3508375"/>
              <a:ext cx="966787" cy="120332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xmlns="" id="{FFD1F3A4-A6C4-473B-8200-42E7F470EDFC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289425" y="2454275"/>
              <a:ext cx="69850" cy="49213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xmlns="" id="{BD426C23-77B6-4E3E-920E-918C819037EA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787775" y="2328863"/>
              <a:ext cx="82550" cy="160337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xmlns="" id="{EF5C932B-F7A8-468C-BA2A-F28174E890A9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868738" y="1814513"/>
              <a:ext cx="171450" cy="269875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xmlns="" id="{891B451F-FA98-427D-98BC-D1C8318189AC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227513" y="2117725"/>
              <a:ext cx="169862" cy="76200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xmlns="" id="{A93A18C8-535D-4337-8A5D-98549C45FF9D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719763" y="1966913"/>
              <a:ext cx="1281112" cy="1038225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xmlns="" id="{4707A534-6274-40A0-864F-98FAE7996B01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411663" y="1508125"/>
              <a:ext cx="220662" cy="273050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xmlns="" id="{233BFB0C-5554-4B76-B99F-7EA479A5E26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148138" y="1925638"/>
              <a:ext cx="182562" cy="238125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xmlns="" id="{2F6E613D-73CE-419C-8450-19980E8E2E1D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173538" y="2182813"/>
              <a:ext cx="250825" cy="274637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xmlns="" id="{76E45FA4-089A-4F87-BFFA-98AB8F65CCB4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91000" y="2351088"/>
              <a:ext cx="33338" cy="82550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grpSp>
          <p:nvGrpSpPr>
            <p:cNvPr id="29" name="Group 19">
              <a:extLst>
                <a:ext uri="{FF2B5EF4-FFF2-40B4-BE49-F238E27FC236}">
                  <a16:creationId xmlns:a16="http://schemas.microsoft.com/office/drawing/2014/main" xmlns="" id="{3CBA1D01-63A7-4693-B02F-418149B71B5C}"/>
                </a:ext>
              </a:extLst>
            </p:cNvPr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510338" y="3411538"/>
              <a:ext cx="473075" cy="212725"/>
              <a:chOff x="4488" y="2394"/>
              <a:chExt cx="358" cy="124"/>
            </a:xfrm>
          </p:grpSpPr>
          <p:sp>
            <p:nvSpPr>
              <p:cNvPr id="559" name="Freeform 20">
                <a:extLst>
                  <a:ext uri="{FF2B5EF4-FFF2-40B4-BE49-F238E27FC236}">
                    <a16:creationId xmlns:a16="http://schemas.microsoft.com/office/drawing/2014/main" xmlns="" id="{E7973071-61E5-400A-9641-B1A9DC887B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60" name="Freeform 21">
                <a:extLst>
                  <a:ext uri="{FF2B5EF4-FFF2-40B4-BE49-F238E27FC236}">
                    <a16:creationId xmlns:a16="http://schemas.microsoft.com/office/drawing/2014/main" xmlns="" id="{5A5D2E21-E350-4C99-9667-31774C656E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</p:grpSp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xmlns="" id="{65FC117E-B073-4276-BBE7-803B78AC557A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532313" y="1287463"/>
              <a:ext cx="3065462" cy="1074737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xmlns="" id="{F7F49309-29B6-444F-AA86-B26D996B2048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795713" y="2274888"/>
              <a:ext cx="280987" cy="247650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2" name="Freeform 24">
              <a:extLst>
                <a:ext uri="{FF2B5EF4-FFF2-40B4-BE49-F238E27FC236}">
                  <a16:creationId xmlns:a16="http://schemas.microsoft.com/office/drawing/2014/main" xmlns="" id="{CFDE74E6-6E82-4DDA-AE1E-8B1F50A4EB8C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427788" y="3013075"/>
              <a:ext cx="207962" cy="455613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3" name="Freeform 25">
              <a:extLst>
                <a:ext uri="{FF2B5EF4-FFF2-40B4-BE49-F238E27FC236}">
                  <a16:creationId xmlns:a16="http://schemas.microsoft.com/office/drawing/2014/main" xmlns="" id="{329491DE-1AAD-44DA-B8AB-852C3B1FFF75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4" name="Line 26">
              <a:extLst>
                <a:ext uri="{FF2B5EF4-FFF2-40B4-BE49-F238E27FC236}">
                  <a16:creationId xmlns:a16="http://schemas.microsoft.com/office/drawing/2014/main" xmlns="" id="{746D3112-875B-4282-B3D7-DC66B2B19972}"/>
                </a:ext>
              </a:extLst>
            </p:cNvPr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998538" y="2322513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5" name="Freeform 27">
              <a:extLst>
                <a:ext uri="{FF2B5EF4-FFF2-40B4-BE49-F238E27FC236}">
                  <a16:creationId xmlns:a16="http://schemas.microsoft.com/office/drawing/2014/main" xmlns="" id="{A786CDF5-357B-4B07-AD8C-0040890D6084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001713" y="2319338"/>
              <a:ext cx="3175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6" name="Freeform 28">
              <a:extLst>
                <a:ext uri="{FF2B5EF4-FFF2-40B4-BE49-F238E27FC236}">
                  <a16:creationId xmlns:a16="http://schemas.microsoft.com/office/drawing/2014/main" xmlns="" id="{449698FB-B670-4B1A-875E-520C598CC80A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977900" y="2373313"/>
              <a:ext cx="23813" cy="57150"/>
            </a:xfrm>
            <a:custGeom>
              <a:avLst/>
              <a:gdLst>
                <a:gd name="T0" fmla="*/ 0 w 47"/>
                <a:gd name="T1" fmla="*/ 24 h 67"/>
                <a:gd name="T2" fmla="*/ 0 w 47"/>
                <a:gd name="T3" fmla="*/ 30 h 67"/>
                <a:gd name="T4" fmla="*/ 2 w 47"/>
                <a:gd name="T5" fmla="*/ 36 h 67"/>
                <a:gd name="T6" fmla="*/ 3 w 47"/>
                <a:gd name="T7" fmla="*/ 42 h 67"/>
                <a:gd name="T8" fmla="*/ 5 w 47"/>
                <a:gd name="T9" fmla="*/ 47 h 67"/>
                <a:gd name="T10" fmla="*/ 9 w 47"/>
                <a:gd name="T11" fmla="*/ 58 h 67"/>
                <a:gd name="T12" fmla="*/ 14 w 47"/>
                <a:gd name="T13" fmla="*/ 67 h 67"/>
                <a:gd name="T14" fmla="*/ 47 w 47"/>
                <a:gd name="T15" fmla="*/ 67 h 67"/>
                <a:gd name="T16" fmla="*/ 47 w 47"/>
                <a:gd name="T17" fmla="*/ 0 h 67"/>
                <a:gd name="T18" fmla="*/ 36 w 47"/>
                <a:gd name="T19" fmla="*/ 2 h 67"/>
                <a:gd name="T20" fmla="*/ 26 w 47"/>
                <a:gd name="T21" fmla="*/ 4 h 67"/>
                <a:gd name="T22" fmla="*/ 18 w 47"/>
                <a:gd name="T23" fmla="*/ 7 h 67"/>
                <a:gd name="T24" fmla="*/ 11 w 47"/>
                <a:gd name="T25" fmla="*/ 9 h 67"/>
                <a:gd name="T26" fmla="*/ 6 w 47"/>
                <a:gd name="T27" fmla="*/ 12 h 67"/>
                <a:gd name="T28" fmla="*/ 3 w 47"/>
                <a:gd name="T29" fmla="*/ 16 h 67"/>
                <a:gd name="T30" fmla="*/ 0 w 47"/>
                <a:gd name="T31" fmla="*/ 20 h 67"/>
                <a:gd name="T32" fmla="*/ 0 w 47"/>
                <a:gd name="T33" fmla="*/ 2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7" name="Freeform 29">
              <a:extLst>
                <a:ext uri="{FF2B5EF4-FFF2-40B4-BE49-F238E27FC236}">
                  <a16:creationId xmlns:a16="http://schemas.microsoft.com/office/drawing/2014/main" xmlns="" id="{C624B7B2-04E2-4E6E-9B64-7F8F46AB5779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303463" y="2368550"/>
              <a:ext cx="4921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8" name="Freeform 30">
              <a:extLst>
                <a:ext uri="{FF2B5EF4-FFF2-40B4-BE49-F238E27FC236}">
                  <a16:creationId xmlns:a16="http://schemas.microsoft.com/office/drawing/2014/main" xmlns="" id="{F2B3CF3C-801D-4845-9955-20DCE4811E41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041900" y="1925638"/>
              <a:ext cx="874713" cy="452437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00B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9" name="Freeform 31">
              <a:extLst>
                <a:ext uri="{FF2B5EF4-FFF2-40B4-BE49-F238E27FC236}">
                  <a16:creationId xmlns:a16="http://schemas.microsoft.com/office/drawing/2014/main" xmlns="" id="{F83E2FF2-1A3D-4D69-BC22-B3BFA85D9CE4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272088" y="2228850"/>
              <a:ext cx="409575" cy="249238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40" name="Freeform 32">
              <a:extLst>
                <a:ext uri="{FF2B5EF4-FFF2-40B4-BE49-F238E27FC236}">
                  <a16:creationId xmlns:a16="http://schemas.microsoft.com/office/drawing/2014/main" xmlns="" id="{1CF7906B-0B85-4A5C-97C2-F7DE1AD05532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079875" y="3232150"/>
              <a:ext cx="296863" cy="288925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41" name="Freeform 33">
              <a:extLst>
                <a:ext uri="{FF2B5EF4-FFF2-40B4-BE49-F238E27FC236}">
                  <a16:creationId xmlns:a16="http://schemas.microsoft.com/office/drawing/2014/main" xmlns="" id="{4FB5CE5D-8FBF-42E6-AF6B-2632F53650F9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922838" y="3097213"/>
              <a:ext cx="152400" cy="169862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42" name="Freeform 34">
              <a:extLst>
                <a:ext uri="{FF2B5EF4-FFF2-40B4-BE49-F238E27FC236}">
                  <a16:creationId xmlns:a16="http://schemas.microsoft.com/office/drawing/2014/main" xmlns="" id="{1DB34C24-0656-42E5-BA0F-C7AF8836D416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384675" y="2101850"/>
              <a:ext cx="125413" cy="57150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43" name="Freeform 35">
              <a:extLst>
                <a:ext uri="{FF2B5EF4-FFF2-40B4-BE49-F238E27FC236}">
                  <a16:creationId xmlns:a16="http://schemas.microsoft.com/office/drawing/2014/main" xmlns="" id="{718F6A0E-F4E9-400B-84D3-137E4744AF83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248275" y="2822575"/>
              <a:ext cx="19050" cy="57150"/>
            </a:xfrm>
            <a:custGeom>
              <a:avLst/>
              <a:gdLst>
                <a:gd name="T0" fmla="*/ 39 w 43"/>
                <a:gd name="T1" fmla="*/ 93 h 93"/>
                <a:gd name="T2" fmla="*/ 31 w 43"/>
                <a:gd name="T3" fmla="*/ 91 h 93"/>
                <a:gd name="T4" fmla="*/ 26 w 43"/>
                <a:gd name="T5" fmla="*/ 89 h 93"/>
                <a:gd name="T6" fmla="*/ 21 w 43"/>
                <a:gd name="T7" fmla="*/ 87 h 93"/>
                <a:gd name="T8" fmla="*/ 18 w 43"/>
                <a:gd name="T9" fmla="*/ 84 h 93"/>
                <a:gd name="T10" fmla="*/ 15 w 43"/>
                <a:gd name="T11" fmla="*/ 79 h 93"/>
                <a:gd name="T12" fmla="*/ 14 w 43"/>
                <a:gd name="T13" fmla="*/ 73 h 93"/>
                <a:gd name="T14" fmla="*/ 13 w 43"/>
                <a:gd name="T15" fmla="*/ 65 h 93"/>
                <a:gd name="T16" fmla="*/ 11 w 43"/>
                <a:gd name="T17" fmla="*/ 55 h 93"/>
                <a:gd name="T18" fmla="*/ 11 w 43"/>
                <a:gd name="T19" fmla="*/ 48 h 93"/>
                <a:gd name="T20" fmla="*/ 9 w 43"/>
                <a:gd name="T21" fmla="*/ 42 h 93"/>
                <a:gd name="T22" fmla="*/ 6 w 43"/>
                <a:gd name="T23" fmla="*/ 38 h 93"/>
                <a:gd name="T24" fmla="*/ 4 w 43"/>
                <a:gd name="T25" fmla="*/ 36 h 93"/>
                <a:gd name="T26" fmla="*/ 2 w 43"/>
                <a:gd name="T27" fmla="*/ 34 h 93"/>
                <a:gd name="T28" fmla="*/ 0 w 43"/>
                <a:gd name="T29" fmla="*/ 32 h 93"/>
                <a:gd name="T30" fmla="*/ 2 w 43"/>
                <a:gd name="T31" fmla="*/ 29 h 93"/>
                <a:gd name="T32" fmla="*/ 5 w 43"/>
                <a:gd name="T33" fmla="*/ 24 h 93"/>
                <a:gd name="T34" fmla="*/ 6 w 43"/>
                <a:gd name="T35" fmla="*/ 28 h 93"/>
                <a:gd name="T36" fmla="*/ 7 w 43"/>
                <a:gd name="T37" fmla="*/ 29 h 93"/>
                <a:gd name="T38" fmla="*/ 8 w 43"/>
                <a:gd name="T39" fmla="*/ 30 h 93"/>
                <a:gd name="T40" fmla="*/ 9 w 43"/>
                <a:gd name="T41" fmla="*/ 29 h 93"/>
                <a:gd name="T42" fmla="*/ 11 w 43"/>
                <a:gd name="T43" fmla="*/ 25 h 93"/>
                <a:gd name="T44" fmla="*/ 14 w 43"/>
                <a:gd name="T45" fmla="*/ 19 h 93"/>
                <a:gd name="T46" fmla="*/ 16 w 43"/>
                <a:gd name="T47" fmla="*/ 12 h 93"/>
                <a:gd name="T48" fmla="*/ 20 w 43"/>
                <a:gd name="T49" fmla="*/ 6 h 93"/>
                <a:gd name="T50" fmla="*/ 22 w 43"/>
                <a:gd name="T51" fmla="*/ 4 h 93"/>
                <a:gd name="T52" fmla="*/ 25 w 43"/>
                <a:gd name="T53" fmla="*/ 2 h 93"/>
                <a:gd name="T54" fmla="*/ 28 w 43"/>
                <a:gd name="T55" fmla="*/ 0 h 93"/>
                <a:gd name="T56" fmla="*/ 32 w 43"/>
                <a:gd name="T57" fmla="*/ 0 h 93"/>
                <a:gd name="T58" fmla="*/ 33 w 43"/>
                <a:gd name="T59" fmla="*/ 10 h 93"/>
                <a:gd name="T60" fmla="*/ 33 w 43"/>
                <a:gd name="T61" fmla="*/ 16 h 93"/>
                <a:gd name="T62" fmla="*/ 33 w 43"/>
                <a:gd name="T63" fmla="*/ 20 h 93"/>
                <a:gd name="T64" fmla="*/ 32 w 43"/>
                <a:gd name="T65" fmla="*/ 23 h 93"/>
                <a:gd name="T66" fmla="*/ 32 w 43"/>
                <a:gd name="T67" fmla="*/ 27 h 93"/>
                <a:gd name="T68" fmla="*/ 32 w 43"/>
                <a:gd name="T69" fmla="*/ 31 h 93"/>
                <a:gd name="T70" fmla="*/ 35 w 43"/>
                <a:gd name="T71" fmla="*/ 36 h 93"/>
                <a:gd name="T72" fmla="*/ 39 w 43"/>
                <a:gd name="T73" fmla="*/ 43 h 93"/>
                <a:gd name="T74" fmla="*/ 38 w 43"/>
                <a:gd name="T75" fmla="*/ 44 h 93"/>
                <a:gd name="T76" fmla="*/ 37 w 43"/>
                <a:gd name="T77" fmla="*/ 45 h 93"/>
                <a:gd name="T78" fmla="*/ 37 w 43"/>
                <a:gd name="T79" fmla="*/ 48 h 93"/>
                <a:gd name="T80" fmla="*/ 38 w 43"/>
                <a:gd name="T81" fmla="*/ 51 h 93"/>
                <a:gd name="T82" fmla="*/ 39 w 43"/>
                <a:gd name="T83" fmla="*/ 59 h 93"/>
                <a:gd name="T84" fmla="*/ 41 w 43"/>
                <a:gd name="T85" fmla="*/ 68 h 93"/>
                <a:gd name="T86" fmla="*/ 42 w 43"/>
                <a:gd name="T87" fmla="*/ 76 h 93"/>
                <a:gd name="T88" fmla="*/ 43 w 43"/>
                <a:gd name="T89" fmla="*/ 85 h 93"/>
                <a:gd name="T90" fmla="*/ 43 w 43"/>
                <a:gd name="T91" fmla="*/ 88 h 93"/>
                <a:gd name="T92" fmla="*/ 42 w 43"/>
                <a:gd name="T93" fmla="*/ 91 h 93"/>
                <a:gd name="T94" fmla="*/ 40 w 43"/>
                <a:gd name="T95" fmla="*/ 92 h 93"/>
                <a:gd name="T96" fmla="*/ 39 w 43"/>
                <a:gd name="T9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44" name="Freeform 36">
              <a:extLst>
                <a:ext uri="{FF2B5EF4-FFF2-40B4-BE49-F238E27FC236}">
                  <a16:creationId xmlns:a16="http://schemas.microsoft.com/office/drawing/2014/main" xmlns="" id="{9CBA9F1C-3EC9-41BF-B4D4-369E9C0EFC9B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367338" y="2827338"/>
              <a:ext cx="14287" cy="57150"/>
            </a:xfrm>
            <a:custGeom>
              <a:avLst/>
              <a:gdLst>
                <a:gd name="T0" fmla="*/ 40 w 40"/>
                <a:gd name="T1" fmla="*/ 56 h 56"/>
                <a:gd name="T2" fmla="*/ 37 w 40"/>
                <a:gd name="T3" fmla="*/ 46 h 56"/>
                <a:gd name="T4" fmla="*/ 33 w 40"/>
                <a:gd name="T5" fmla="*/ 38 h 56"/>
                <a:gd name="T6" fmla="*/ 28 w 40"/>
                <a:gd name="T7" fmla="*/ 32 h 56"/>
                <a:gd name="T8" fmla="*/ 23 w 40"/>
                <a:gd name="T9" fmla="*/ 28 h 56"/>
                <a:gd name="T10" fmla="*/ 11 w 40"/>
                <a:gd name="T11" fmla="*/ 21 h 56"/>
                <a:gd name="T12" fmla="*/ 0 w 40"/>
                <a:gd name="T13" fmla="*/ 12 h 56"/>
                <a:gd name="T14" fmla="*/ 13 w 40"/>
                <a:gd name="T15" fmla="*/ 4 h 56"/>
                <a:gd name="T16" fmla="*/ 20 w 40"/>
                <a:gd name="T17" fmla="*/ 0 h 56"/>
                <a:gd name="T18" fmla="*/ 28 w 40"/>
                <a:gd name="T19" fmla="*/ 12 h 56"/>
                <a:gd name="T20" fmla="*/ 35 w 40"/>
                <a:gd name="T21" fmla="*/ 22 h 56"/>
                <a:gd name="T22" fmla="*/ 37 w 40"/>
                <a:gd name="T23" fmla="*/ 25 h 56"/>
                <a:gd name="T24" fmla="*/ 39 w 40"/>
                <a:gd name="T25" fmla="*/ 29 h 56"/>
                <a:gd name="T26" fmla="*/ 39 w 40"/>
                <a:gd name="T27" fmla="*/ 33 h 56"/>
                <a:gd name="T28" fmla="*/ 40 w 40"/>
                <a:gd name="T29" fmla="*/ 37 h 56"/>
                <a:gd name="T30" fmla="*/ 40 w 40"/>
                <a:gd name="T31" fmla="*/ 44 h 56"/>
                <a:gd name="T32" fmla="*/ 40 w 40"/>
                <a:gd name="T33" fmla="*/ 46 h 56"/>
                <a:gd name="T34" fmla="*/ 40 w 40"/>
                <a:gd name="T35" fmla="*/ 49 h 56"/>
                <a:gd name="T36" fmla="*/ 40 w 40"/>
                <a:gd name="T3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45" name="Freeform 37">
              <a:extLst>
                <a:ext uri="{FF2B5EF4-FFF2-40B4-BE49-F238E27FC236}">
                  <a16:creationId xmlns:a16="http://schemas.microsoft.com/office/drawing/2014/main" xmlns="" id="{0A73E445-A7D6-45E7-918F-0459DCA1C263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854825" y="3487738"/>
              <a:ext cx="44450" cy="57150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grpSp>
          <p:nvGrpSpPr>
            <p:cNvPr id="46" name="Group 38">
              <a:extLst>
                <a:ext uri="{FF2B5EF4-FFF2-40B4-BE49-F238E27FC236}">
                  <a16:creationId xmlns:a16="http://schemas.microsoft.com/office/drawing/2014/main" xmlns="" id="{0A315F02-33B5-43AA-96AD-F00A1BD6564D}"/>
                </a:ext>
              </a:extLst>
            </p:cNvPr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2706688" y="5295900"/>
              <a:ext cx="65087" cy="55563"/>
              <a:chOff x="1654" y="3671"/>
              <a:chExt cx="49" cy="17"/>
            </a:xfrm>
          </p:grpSpPr>
          <p:sp>
            <p:nvSpPr>
              <p:cNvPr id="557" name="Freeform 39">
                <a:extLst>
                  <a:ext uri="{FF2B5EF4-FFF2-40B4-BE49-F238E27FC236}">
                    <a16:creationId xmlns:a16="http://schemas.microsoft.com/office/drawing/2014/main" xmlns="" id="{51DD718F-D236-413B-AAAF-7F7B840985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58" name="Freeform 40">
                <a:extLst>
                  <a:ext uri="{FF2B5EF4-FFF2-40B4-BE49-F238E27FC236}">
                    <a16:creationId xmlns:a16="http://schemas.microsoft.com/office/drawing/2014/main" xmlns="" id="{795CFB39-E283-4EDE-82CC-7FDC578AC2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</p:grpSp>
        <p:sp>
          <p:nvSpPr>
            <p:cNvPr id="47" name="Freeform 41">
              <a:extLst>
                <a:ext uri="{FF2B5EF4-FFF2-40B4-BE49-F238E27FC236}">
                  <a16:creationId xmlns:a16="http://schemas.microsoft.com/office/drawing/2014/main" xmlns="" id="{65F6C8D3-DE93-458D-A6BD-DC5878BBB09E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354263" y="3090863"/>
              <a:ext cx="31750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48" name="Freeform 42">
              <a:extLst>
                <a:ext uri="{FF2B5EF4-FFF2-40B4-BE49-F238E27FC236}">
                  <a16:creationId xmlns:a16="http://schemas.microsoft.com/office/drawing/2014/main" xmlns="" id="{F0C64698-EF19-4E3D-95FC-F6B5848A6127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409825" y="3097213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49" name="Freeform 43">
              <a:extLst>
                <a:ext uri="{FF2B5EF4-FFF2-40B4-BE49-F238E27FC236}">
                  <a16:creationId xmlns:a16="http://schemas.microsoft.com/office/drawing/2014/main" xmlns="" id="{1E08F797-F2DD-42E1-AF40-A94F9A960656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422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50" name="Freeform 44">
              <a:extLst>
                <a:ext uri="{FF2B5EF4-FFF2-40B4-BE49-F238E27FC236}">
                  <a16:creationId xmlns:a16="http://schemas.microsoft.com/office/drawing/2014/main" xmlns="" id="{61D145A5-2525-4ADE-8034-925BB6D4D841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436813" y="3089275"/>
              <a:ext cx="7937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51" name="Freeform 45">
              <a:extLst>
                <a:ext uri="{FF2B5EF4-FFF2-40B4-BE49-F238E27FC236}">
                  <a16:creationId xmlns:a16="http://schemas.microsoft.com/office/drawing/2014/main" xmlns="" id="{3C470A92-2E2B-4DD6-AF8A-33365A346EA2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416175" y="3081338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52" name="Freeform 46">
              <a:extLst>
                <a:ext uri="{FF2B5EF4-FFF2-40B4-BE49-F238E27FC236}">
                  <a16:creationId xmlns:a16="http://schemas.microsoft.com/office/drawing/2014/main" xmlns="" id="{1557A446-0DC4-41B9-A477-8861E03D9BDC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465388" y="3109913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53" name="Line 47">
              <a:extLst>
                <a:ext uri="{FF2B5EF4-FFF2-40B4-BE49-F238E27FC236}">
                  <a16:creationId xmlns:a16="http://schemas.microsoft.com/office/drawing/2014/main" xmlns="" id="{D10B8B34-BFBC-45C0-A8B3-B348BE6BF2D8}"/>
                </a:ext>
              </a:extLst>
            </p:cNvPr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2473325" y="3106738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54" name="Line 48">
              <a:extLst>
                <a:ext uri="{FF2B5EF4-FFF2-40B4-BE49-F238E27FC236}">
                  <a16:creationId xmlns:a16="http://schemas.microsoft.com/office/drawing/2014/main" xmlns="" id="{C1C96B6E-2C2A-40F4-9B83-63F6F9E22571}"/>
                </a:ext>
              </a:extLst>
            </p:cNvPr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2473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55" name="Freeform 49">
              <a:extLst>
                <a:ext uri="{FF2B5EF4-FFF2-40B4-BE49-F238E27FC236}">
                  <a16:creationId xmlns:a16="http://schemas.microsoft.com/office/drawing/2014/main" xmlns="" id="{EF68E8E8-CD6F-48FF-8565-F77E3FFF8BC5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473325" y="3127375"/>
              <a:ext cx="11113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56" name="Freeform 50">
              <a:extLst>
                <a:ext uri="{FF2B5EF4-FFF2-40B4-BE49-F238E27FC236}">
                  <a16:creationId xmlns:a16="http://schemas.microsoft.com/office/drawing/2014/main" xmlns="" id="{3CBC3BC9-D199-458A-BBBE-A38965E69E65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479675" y="3155950"/>
              <a:ext cx="17463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57" name="Freeform 51">
              <a:extLst>
                <a:ext uri="{FF2B5EF4-FFF2-40B4-BE49-F238E27FC236}">
                  <a16:creationId xmlns:a16="http://schemas.microsoft.com/office/drawing/2014/main" xmlns="" id="{79370745-A9F6-4F4D-9140-F7ED95071B61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486025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58" name="Freeform 52">
              <a:extLst>
                <a:ext uri="{FF2B5EF4-FFF2-40B4-BE49-F238E27FC236}">
                  <a16:creationId xmlns:a16="http://schemas.microsoft.com/office/drawing/2014/main" xmlns="" id="{45FF89BC-B141-4D2E-91AD-6C606AA32A8E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495550" y="3228975"/>
              <a:ext cx="3175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59" name="Freeform 53">
              <a:extLst>
                <a:ext uri="{FF2B5EF4-FFF2-40B4-BE49-F238E27FC236}">
                  <a16:creationId xmlns:a16="http://schemas.microsoft.com/office/drawing/2014/main" xmlns="" id="{BCF0A992-9C88-4ED2-B6B5-2BCB9AC2F2C2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517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60" name="Freeform 54">
              <a:extLst>
                <a:ext uri="{FF2B5EF4-FFF2-40B4-BE49-F238E27FC236}">
                  <a16:creationId xmlns:a16="http://schemas.microsoft.com/office/drawing/2014/main" xmlns="" id="{9EE3AA62-AAA3-450A-BCAA-BA926757C8F7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479675" y="3271838"/>
              <a:ext cx="15875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61" name="Freeform 55">
              <a:extLst>
                <a:ext uri="{FF2B5EF4-FFF2-40B4-BE49-F238E27FC236}">
                  <a16:creationId xmlns:a16="http://schemas.microsoft.com/office/drawing/2014/main" xmlns="" id="{F96EB418-EBE1-456C-8BEE-9831F1FB3E4F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465388" y="3336925"/>
              <a:ext cx="23812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62" name="Freeform 56">
              <a:extLst>
                <a:ext uri="{FF2B5EF4-FFF2-40B4-BE49-F238E27FC236}">
                  <a16:creationId xmlns:a16="http://schemas.microsoft.com/office/drawing/2014/main" xmlns="" id="{65832AEC-9475-4214-B1B0-04D9EA47CB3F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484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63" name="Freeform 57">
              <a:extLst>
                <a:ext uri="{FF2B5EF4-FFF2-40B4-BE49-F238E27FC236}">
                  <a16:creationId xmlns:a16="http://schemas.microsoft.com/office/drawing/2014/main" xmlns="" id="{4AAE0CB2-BFAE-4CCE-8275-E1D2D3830435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966913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grpSp>
          <p:nvGrpSpPr>
            <p:cNvPr id="64" name="Group 58">
              <a:extLst>
                <a:ext uri="{FF2B5EF4-FFF2-40B4-BE49-F238E27FC236}">
                  <a16:creationId xmlns:a16="http://schemas.microsoft.com/office/drawing/2014/main" xmlns="" id="{AF8D97F2-EDF2-4AB4-B41B-9987FE1A4626}"/>
                </a:ext>
              </a:extLst>
            </p:cNvPr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2092325" y="2817813"/>
              <a:ext cx="131763" cy="195262"/>
              <a:chOff x="1199" y="2121"/>
              <a:chExt cx="97" cy="123"/>
            </a:xfrm>
          </p:grpSpPr>
          <p:sp>
            <p:nvSpPr>
              <p:cNvPr id="547" name="Freeform 59">
                <a:extLst>
                  <a:ext uri="{FF2B5EF4-FFF2-40B4-BE49-F238E27FC236}">
                    <a16:creationId xmlns:a16="http://schemas.microsoft.com/office/drawing/2014/main" xmlns="" id="{BFADC08E-84CB-4FAF-8BA4-FB6CA44A78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48" name="Freeform 60">
                <a:extLst>
                  <a:ext uri="{FF2B5EF4-FFF2-40B4-BE49-F238E27FC236}">
                    <a16:creationId xmlns:a16="http://schemas.microsoft.com/office/drawing/2014/main" xmlns="" id="{38754AF0-BD46-439E-AF9C-4CCA7334F2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49" name="Freeform 61">
                <a:extLst>
                  <a:ext uri="{FF2B5EF4-FFF2-40B4-BE49-F238E27FC236}">
                    <a16:creationId xmlns:a16="http://schemas.microsoft.com/office/drawing/2014/main" xmlns="" id="{5A8A8A7D-66F2-4DC2-A3B7-21FE25FC7C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50" name="Freeform 62">
                <a:extLst>
                  <a:ext uri="{FF2B5EF4-FFF2-40B4-BE49-F238E27FC236}">
                    <a16:creationId xmlns:a16="http://schemas.microsoft.com/office/drawing/2014/main" xmlns="" id="{778FAEBF-A202-47DE-8987-8F6F6125CE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51" name="Freeform 63">
                <a:extLst>
                  <a:ext uri="{FF2B5EF4-FFF2-40B4-BE49-F238E27FC236}">
                    <a16:creationId xmlns:a16="http://schemas.microsoft.com/office/drawing/2014/main" xmlns="" id="{D4C98F16-3293-459D-8CE4-7C3D92B5A9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52" name="Freeform 64">
                <a:extLst>
                  <a:ext uri="{FF2B5EF4-FFF2-40B4-BE49-F238E27FC236}">
                    <a16:creationId xmlns:a16="http://schemas.microsoft.com/office/drawing/2014/main" xmlns="" id="{2EE509D7-ECBF-48A9-9B02-E951550AA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53" name="Freeform 65">
                <a:extLst>
                  <a:ext uri="{FF2B5EF4-FFF2-40B4-BE49-F238E27FC236}">
                    <a16:creationId xmlns:a16="http://schemas.microsoft.com/office/drawing/2014/main" xmlns="" id="{5DDE79BF-AF54-49DA-AEBC-ED14D57FC1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54" name="Freeform 66">
                <a:extLst>
                  <a:ext uri="{FF2B5EF4-FFF2-40B4-BE49-F238E27FC236}">
                    <a16:creationId xmlns:a16="http://schemas.microsoft.com/office/drawing/2014/main" xmlns="" id="{7EAA6E71-1A5D-4F9C-932B-C97484DCA3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55" name="Freeform 67">
                <a:extLst>
                  <a:ext uri="{FF2B5EF4-FFF2-40B4-BE49-F238E27FC236}">
                    <a16:creationId xmlns:a16="http://schemas.microsoft.com/office/drawing/2014/main" xmlns="" id="{868FF166-C35A-492A-9FC3-3EDE9A7710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56" name="Freeform 68">
                <a:extLst>
                  <a:ext uri="{FF2B5EF4-FFF2-40B4-BE49-F238E27FC236}">
                    <a16:creationId xmlns:a16="http://schemas.microsoft.com/office/drawing/2014/main" xmlns="" id="{070A9705-0349-4442-98E5-F2FB4D1BC9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</p:grpSp>
        <p:sp>
          <p:nvSpPr>
            <p:cNvPr id="65" name="Freeform 69">
              <a:extLst>
                <a:ext uri="{FF2B5EF4-FFF2-40B4-BE49-F238E27FC236}">
                  <a16:creationId xmlns:a16="http://schemas.microsoft.com/office/drawing/2014/main" xmlns="" id="{9DC371AF-FEDD-43EC-BEE0-F88C2C2AEC2E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905750" y="4244975"/>
              <a:ext cx="12700" cy="57150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66" name="Freeform 70">
              <a:extLst>
                <a:ext uri="{FF2B5EF4-FFF2-40B4-BE49-F238E27FC236}">
                  <a16:creationId xmlns:a16="http://schemas.microsoft.com/office/drawing/2014/main" xmlns="" id="{FF34D052-4903-4D42-A99D-6DAC019017D9}"/>
                </a:ext>
              </a:extLst>
            </p:cNvPr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915275" y="4335463"/>
              <a:ext cx="9525" cy="58737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67" name="Freeform 71">
              <a:extLst>
                <a:ext uri="{FF2B5EF4-FFF2-40B4-BE49-F238E27FC236}">
                  <a16:creationId xmlns:a16="http://schemas.microsoft.com/office/drawing/2014/main" xmlns="" id="{8B5BA5F9-8D52-4F1C-AACE-961D2F0CB325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029575" y="4244975"/>
              <a:ext cx="77788" cy="130175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68" name="Freeform 72">
              <a:extLst>
                <a:ext uri="{FF2B5EF4-FFF2-40B4-BE49-F238E27FC236}">
                  <a16:creationId xmlns:a16="http://schemas.microsoft.com/office/drawing/2014/main" xmlns="" id="{FAA489BB-F368-4EC6-B48D-48A0475043DC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029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grpSp>
          <p:nvGrpSpPr>
            <p:cNvPr id="69" name="Group 73">
              <a:extLst>
                <a:ext uri="{FF2B5EF4-FFF2-40B4-BE49-F238E27FC236}">
                  <a16:creationId xmlns:a16="http://schemas.microsoft.com/office/drawing/2014/main" xmlns="" id="{47C57446-35E2-410C-960D-3358384CB066}"/>
                </a:ext>
              </a:extLst>
            </p:cNvPr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7720013" y="4738688"/>
              <a:ext cx="458787" cy="404812"/>
              <a:chOff x="5372" y="3323"/>
              <a:chExt cx="341" cy="253"/>
            </a:xfrm>
          </p:grpSpPr>
          <p:sp>
            <p:nvSpPr>
              <p:cNvPr id="544" name="Freeform 74">
                <a:extLst>
                  <a:ext uri="{FF2B5EF4-FFF2-40B4-BE49-F238E27FC236}">
                    <a16:creationId xmlns:a16="http://schemas.microsoft.com/office/drawing/2014/main" xmlns="" id="{9A9612FD-DAD1-4918-9597-274BD2A21C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45" name="Freeform 75">
                <a:extLst>
                  <a:ext uri="{FF2B5EF4-FFF2-40B4-BE49-F238E27FC236}">
                    <a16:creationId xmlns:a16="http://schemas.microsoft.com/office/drawing/2014/main" xmlns="" id="{0777C2C6-8439-4016-9177-D0CFD3387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46" name="Freeform 76">
                <a:extLst>
                  <a:ext uri="{FF2B5EF4-FFF2-40B4-BE49-F238E27FC236}">
                    <a16:creationId xmlns:a16="http://schemas.microsoft.com/office/drawing/2014/main" xmlns="" id="{5FFBAB7B-F3E5-4A7A-A041-0DA39ABE89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</p:grpSp>
        <p:sp>
          <p:nvSpPr>
            <p:cNvPr id="70" name="Freeform 77">
              <a:extLst>
                <a:ext uri="{FF2B5EF4-FFF2-40B4-BE49-F238E27FC236}">
                  <a16:creationId xmlns:a16="http://schemas.microsoft.com/office/drawing/2014/main" xmlns="" id="{E3605F05-2AB5-4BFC-981A-A6D379EDA97F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362825" y="3395663"/>
              <a:ext cx="9525" cy="57150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71" name="Freeform 78">
              <a:extLst>
                <a:ext uri="{FF2B5EF4-FFF2-40B4-BE49-F238E27FC236}">
                  <a16:creationId xmlns:a16="http://schemas.microsoft.com/office/drawing/2014/main" xmlns="" id="{09B1489E-BDEF-4384-AB71-BC7C4CB42ECE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089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72" name="Freeform 79">
              <a:extLst>
                <a:ext uri="{FF2B5EF4-FFF2-40B4-BE49-F238E27FC236}">
                  <a16:creationId xmlns:a16="http://schemas.microsoft.com/office/drawing/2014/main" xmlns="" id="{214890AC-DBC6-45E5-AAC1-F92114AF74C2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112125" y="4306888"/>
              <a:ext cx="17463" cy="58737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73" name="Freeform 80">
              <a:extLst>
                <a:ext uri="{FF2B5EF4-FFF2-40B4-BE49-F238E27FC236}">
                  <a16:creationId xmlns:a16="http://schemas.microsoft.com/office/drawing/2014/main" xmlns="" id="{69F265D7-6482-47D9-A66D-55EC586CAB74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426325" y="3384550"/>
              <a:ext cx="1588" cy="55563"/>
            </a:xfrm>
            <a:custGeom>
              <a:avLst/>
              <a:gdLst>
                <a:gd name="T0" fmla="*/ 0 w 7"/>
                <a:gd name="T1" fmla="*/ 7 w 7"/>
                <a:gd name="T2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74" name="Freeform 81">
              <a:extLst>
                <a:ext uri="{FF2B5EF4-FFF2-40B4-BE49-F238E27FC236}">
                  <a16:creationId xmlns:a16="http://schemas.microsoft.com/office/drawing/2014/main" xmlns="" id="{F08980F7-9350-437D-8B7C-8B655D9BEE33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485063" y="3328988"/>
              <a:ext cx="6350" cy="57150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75" name="Freeform 82">
              <a:extLst>
                <a:ext uri="{FF2B5EF4-FFF2-40B4-BE49-F238E27FC236}">
                  <a16:creationId xmlns:a16="http://schemas.microsoft.com/office/drawing/2014/main" xmlns="" id="{999E1ABA-DF94-4153-AFFD-F8FD65A0B355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597775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76" name="Freeform 83">
              <a:extLst>
                <a:ext uri="{FF2B5EF4-FFF2-40B4-BE49-F238E27FC236}">
                  <a16:creationId xmlns:a16="http://schemas.microsoft.com/office/drawing/2014/main" xmlns="" id="{FFDB2F38-8FF6-4889-ACE2-A3E8EEE7D948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750175" y="3916363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77" name="Freeform 84">
              <a:extLst>
                <a:ext uri="{FF2B5EF4-FFF2-40B4-BE49-F238E27FC236}">
                  <a16:creationId xmlns:a16="http://schemas.microsoft.com/office/drawing/2014/main" xmlns="" id="{AE108D6B-CBB4-4F99-91D3-CB51B558EA60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813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78" name="Freeform 85">
              <a:extLst>
                <a:ext uri="{FF2B5EF4-FFF2-40B4-BE49-F238E27FC236}">
                  <a16:creationId xmlns:a16="http://schemas.microsoft.com/office/drawing/2014/main" xmlns="" id="{7E5D0377-F5AB-4E09-A73D-60A5E2BB2B5D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670800" y="3706813"/>
              <a:ext cx="25400" cy="55562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79" name="Freeform 86">
              <a:extLst>
                <a:ext uri="{FF2B5EF4-FFF2-40B4-BE49-F238E27FC236}">
                  <a16:creationId xmlns:a16="http://schemas.microsoft.com/office/drawing/2014/main" xmlns="" id="{5FC9E842-5597-48E7-877B-F9D92225F119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613650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80" name="Freeform 87">
              <a:extLst>
                <a:ext uri="{FF2B5EF4-FFF2-40B4-BE49-F238E27FC236}">
                  <a16:creationId xmlns:a16="http://schemas.microsoft.com/office/drawing/2014/main" xmlns="" id="{AE1691D9-D0CE-4927-AEF9-217142D3A973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813675" y="4013200"/>
              <a:ext cx="31750" cy="57150"/>
            </a:xfrm>
            <a:custGeom>
              <a:avLst/>
              <a:gdLst>
                <a:gd name="T0" fmla="*/ 0 w 73"/>
                <a:gd name="T1" fmla="*/ 20 w 73"/>
                <a:gd name="T2" fmla="*/ 37 w 73"/>
                <a:gd name="T3" fmla="*/ 55 w 73"/>
                <a:gd name="T4" fmla="*/ 73 w 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3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81" name="Freeform 88">
              <a:extLst>
                <a:ext uri="{FF2B5EF4-FFF2-40B4-BE49-F238E27FC236}">
                  <a16:creationId xmlns:a16="http://schemas.microsoft.com/office/drawing/2014/main" xmlns="" id="{7797C6FA-9131-4E1C-B887-C33AC4638DA6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769225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82" name="Line 89">
              <a:extLst>
                <a:ext uri="{FF2B5EF4-FFF2-40B4-BE49-F238E27FC236}">
                  <a16:creationId xmlns:a16="http://schemas.microsoft.com/office/drawing/2014/main" xmlns="" id="{53C3AE65-7CB5-4D49-9608-D0D8C4E108B6}"/>
                </a:ext>
              </a:extLst>
            </p:cNvPr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7802563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83" name="Freeform 90">
              <a:extLst>
                <a:ext uri="{FF2B5EF4-FFF2-40B4-BE49-F238E27FC236}">
                  <a16:creationId xmlns:a16="http://schemas.microsoft.com/office/drawing/2014/main" xmlns="" id="{C886CB68-180E-467D-B01E-EC32B1C90256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823200" y="3994150"/>
              <a:ext cx="1588" cy="57150"/>
            </a:xfrm>
            <a:custGeom>
              <a:avLst/>
              <a:gdLst>
                <a:gd name="T0" fmla="*/ 0 h 13"/>
                <a:gd name="T1" fmla="*/ 6 h 13"/>
                <a:gd name="T2" fmla="*/ 13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84" name="Freeform 91">
              <a:extLst>
                <a:ext uri="{FF2B5EF4-FFF2-40B4-BE49-F238E27FC236}">
                  <a16:creationId xmlns:a16="http://schemas.microsoft.com/office/drawing/2014/main" xmlns="" id="{85B59F60-A86B-49E3-BD85-97992C01F5EA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777163" y="3987800"/>
              <a:ext cx="14287" cy="58738"/>
            </a:xfrm>
            <a:custGeom>
              <a:avLst/>
              <a:gdLst>
                <a:gd name="T0" fmla="*/ 0 w 26"/>
                <a:gd name="T1" fmla="*/ 15 w 26"/>
                <a:gd name="T2" fmla="*/ 26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85" name="Freeform 92">
              <a:extLst>
                <a:ext uri="{FF2B5EF4-FFF2-40B4-BE49-F238E27FC236}">
                  <a16:creationId xmlns:a16="http://schemas.microsoft.com/office/drawing/2014/main" xmlns="" id="{BB1E8E16-19D6-486A-B46F-1853C725B6FE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770813" y="3968750"/>
              <a:ext cx="6350" cy="60325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86" name="Freeform 93">
              <a:extLst>
                <a:ext uri="{FF2B5EF4-FFF2-40B4-BE49-F238E27FC236}">
                  <a16:creationId xmlns:a16="http://schemas.microsoft.com/office/drawing/2014/main" xmlns="" id="{C51E703B-16DC-4B00-8284-7064C370147B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851775" y="3695700"/>
              <a:ext cx="1588" cy="57150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grpSp>
          <p:nvGrpSpPr>
            <p:cNvPr id="87" name="Group 94">
              <a:extLst>
                <a:ext uri="{FF2B5EF4-FFF2-40B4-BE49-F238E27FC236}">
                  <a16:creationId xmlns:a16="http://schemas.microsoft.com/office/drawing/2014/main" xmlns="" id="{0D317585-F1C1-4339-B8EA-FBDED9A5203B}"/>
                </a:ext>
              </a:extLst>
            </p:cNvPr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7726363" y="3367088"/>
              <a:ext cx="163512" cy="114300"/>
              <a:chOff x="5379" y="2466"/>
              <a:chExt cx="122" cy="71"/>
            </a:xfrm>
          </p:grpSpPr>
          <p:sp>
            <p:nvSpPr>
              <p:cNvPr id="535" name="Freeform 95">
                <a:extLst>
                  <a:ext uri="{FF2B5EF4-FFF2-40B4-BE49-F238E27FC236}">
                    <a16:creationId xmlns:a16="http://schemas.microsoft.com/office/drawing/2014/main" xmlns="" id="{A3DC1A78-093A-444C-BCF8-CFE8C1C479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36" name="Freeform 96">
                <a:extLst>
                  <a:ext uri="{FF2B5EF4-FFF2-40B4-BE49-F238E27FC236}">
                    <a16:creationId xmlns:a16="http://schemas.microsoft.com/office/drawing/2014/main" xmlns="" id="{358D9CF3-7BF8-4899-822C-C02B497481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37" name="Freeform 97">
                <a:extLst>
                  <a:ext uri="{FF2B5EF4-FFF2-40B4-BE49-F238E27FC236}">
                    <a16:creationId xmlns:a16="http://schemas.microsoft.com/office/drawing/2014/main" xmlns="" id="{0809D418-8EA6-47E3-8D8A-43FFA362CD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38" name="Freeform 98">
                <a:extLst>
                  <a:ext uri="{FF2B5EF4-FFF2-40B4-BE49-F238E27FC236}">
                    <a16:creationId xmlns:a16="http://schemas.microsoft.com/office/drawing/2014/main" xmlns="" id="{C3C8AEB9-7F42-4836-B8E2-E5BBDBAF4F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39" name="Freeform 99">
                <a:extLst>
                  <a:ext uri="{FF2B5EF4-FFF2-40B4-BE49-F238E27FC236}">
                    <a16:creationId xmlns:a16="http://schemas.microsoft.com/office/drawing/2014/main" xmlns="" id="{4A765F80-4B15-47CF-A7E3-D3B6A9E1D9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40" name="Line 100">
                <a:extLst>
                  <a:ext uri="{FF2B5EF4-FFF2-40B4-BE49-F238E27FC236}">
                    <a16:creationId xmlns:a16="http://schemas.microsoft.com/office/drawing/2014/main" xmlns="" id="{F2031FF6-7330-48AB-B40C-6EFBD751383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41" name="Freeform 101">
                <a:extLst>
                  <a:ext uri="{FF2B5EF4-FFF2-40B4-BE49-F238E27FC236}">
                    <a16:creationId xmlns:a16="http://schemas.microsoft.com/office/drawing/2014/main" xmlns="" id="{95201E61-F705-4E0F-BF6C-E09E30DA42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19 h 19"/>
                  <a:gd name="T1" fmla="*/ 9 h 19"/>
                  <a:gd name="T2" fmla="*/ 0 h 1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42" name="Line 102">
                <a:extLst>
                  <a:ext uri="{FF2B5EF4-FFF2-40B4-BE49-F238E27FC236}">
                    <a16:creationId xmlns:a16="http://schemas.microsoft.com/office/drawing/2014/main" xmlns="" id="{993575F5-1DE0-4B3B-933B-FE769E3FBC7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43" name="Freeform 103">
                <a:extLst>
                  <a:ext uri="{FF2B5EF4-FFF2-40B4-BE49-F238E27FC236}">
                    <a16:creationId xmlns:a16="http://schemas.microsoft.com/office/drawing/2014/main" xmlns="" id="{39BF3C3C-A279-430A-B16A-50A6AA9D4C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</p:grpSp>
        <p:sp>
          <p:nvSpPr>
            <p:cNvPr id="88" name="Freeform 104">
              <a:extLst>
                <a:ext uri="{FF2B5EF4-FFF2-40B4-BE49-F238E27FC236}">
                  <a16:creationId xmlns:a16="http://schemas.microsoft.com/office/drawing/2014/main" xmlns="" id="{112924A1-76C1-461A-86D3-3302804EDCAF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6310313" y="3228975"/>
              <a:ext cx="6350" cy="57150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89" name="Freeform 105">
              <a:extLst>
                <a:ext uri="{FF2B5EF4-FFF2-40B4-BE49-F238E27FC236}">
                  <a16:creationId xmlns:a16="http://schemas.microsoft.com/office/drawing/2014/main" xmlns="" id="{C25CBDF3-23ED-413D-A020-A334D8CA821E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209925" y="5368925"/>
              <a:ext cx="53975" cy="5873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90" name="Freeform 106">
              <a:extLst>
                <a:ext uri="{FF2B5EF4-FFF2-40B4-BE49-F238E27FC236}">
                  <a16:creationId xmlns:a16="http://schemas.microsoft.com/office/drawing/2014/main" xmlns="" id="{CF5A8BD6-3361-4C84-B699-0997120F4B93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511800" y="5207000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91" name="Freeform 107">
              <a:extLst>
                <a:ext uri="{FF2B5EF4-FFF2-40B4-BE49-F238E27FC236}">
                  <a16:creationId xmlns:a16="http://schemas.microsoft.com/office/drawing/2014/main" xmlns="" id="{95B20869-C27F-413C-A510-6040D0C0FC3B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666038" y="1978025"/>
              <a:ext cx="20637" cy="57150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92" name="Freeform 108">
              <a:extLst>
                <a:ext uri="{FF2B5EF4-FFF2-40B4-BE49-F238E27FC236}">
                  <a16:creationId xmlns:a16="http://schemas.microsoft.com/office/drawing/2014/main" xmlns="" id="{B3ED3151-0E8B-436B-883B-4C6F63E242B7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842250" y="2011363"/>
              <a:ext cx="15875" cy="57150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93" name="Freeform 109">
              <a:extLst>
                <a:ext uri="{FF2B5EF4-FFF2-40B4-BE49-F238E27FC236}">
                  <a16:creationId xmlns:a16="http://schemas.microsoft.com/office/drawing/2014/main" xmlns="" id="{D83713BB-B9C5-43E3-AB18-191CA21555B2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291388" y="2241550"/>
              <a:ext cx="4762" cy="5873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94" name="Freeform 110">
              <a:extLst>
                <a:ext uri="{FF2B5EF4-FFF2-40B4-BE49-F238E27FC236}">
                  <a16:creationId xmlns:a16="http://schemas.microsoft.com/office/drawing/2014/main" xmlns="" id="{DD031F80-B8F1-41D9-9F8E-4761078C6A44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105650" y="2803525"/>
              <a:ext cx="14288" cy="58738"/>
            </a:xfrm>
            <a:custGeom>
              <a:avLst/>
              <a:gdLst>
                <a:gd name="T0" fmla="*/ 20 w 20"/>
                <a:gd name="T1" fmla="*/ 0 h 31"/>
                <a:gd name="T2" fmla="*/ 16 w 20"/>
                <a:gd name="T3" fmla="*/ 12 h 31"/>
                <a:gd name="T4" fmla="*/ 10 w 20"/>
                <a:gd name="T5" fmla="*/ 20 h 31"/>
                <a:gd name="T6" fmla="*/ 5 w 20"/>
                <a:gd name="T7" fmla="*/ 26 h 31"/>
                <a:gd name="T8" fmla="*/ 0 w 20"/>
                <a:gd name="T9" fmla="*/ 31 h 31"/>
                <a:gd name="T10" fmla="*/ 0 w 20"/>
                <a:gd name="T11" fmla="*/ 25 h 31"/>
                <a:gd name="T12" fmla="*/ 1 w 20"/>
                <a:gd name="T13" fmla="*/ 19 h 31"/>
                <a:gd name="T14" fmla="*/ 2 w 20"/>
                <a:gd name="T15" fmla="*/ 13 h 31"/>
                <a:gd name="T16" fmla="*/ 5 w 20"/>
                <a:gd name="T17" fmla="*/ 9 h 31"/>
                <a:gd name="T18" fmla="*/ 8 w 20"/>
                <a:gd name="T19" fmla="*/ 6 h 31"/>
                <a:gd name="T20" fmla="*/ 11 w 20"/>
                <a:gd name="T21" fmla="*/ 3 h 31"/>
                <a:gd name="T22" fmla="*/ 16 w 20"/>
                <a:gd name="T23" fmla="*/ 0 h 31"/>
                <a:gd name="T24" fmla="*/ 20 w 20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95" name="Freeform 111">
              <a:extLst>
                <a:ext uri="{FF2B5EF4-FFF2-40B4-BE49-F238E27FC236}">
                  <a16:creationId xmlns:a16="http://schemas.microsoft.com/office/drawing/2014/main" xmlns="" id="{0B9C64F5-B69E-47F7-9A58-A68411CD44AB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123113" y="2738438"/>
              <a:ext cx="15875" cy="57150"/>
            </a:xfrm>
            <a:custGeom>
              <a:avLst/>
              <a:gdLst>
                <a:gd name="T0" fmla="*/ 13 w 26"/>
                <a:gd name="T1" fmla="*/ 37 h 37"/>
                <a:gd name="T2" fmla="*/ 0 w 26"/>
                <a:gd name="T3" fmla="*/ 12 h 37"/>
                <a:gd name="T4" fmla="*/ 6 w 26"/>
                <a:gd name="T5" fmla="*/ 7 h 37"/>
                <a:gd name="T6" fmla="*/ 13 w 26"/>
                <a:gd name="T7" fmla="*/ 4 h 37"/>
                <a:gd name="T8" fmla="*/ 21 w 26"/>
                <a:gd name="T9" fmla="*/ 1 h 37"/>
                <a:gd name="T10" fmla="*/ 26 w 26"/>
                <a:gd name="T11" fmla="*/ 0 h 37"/>
                <a:gd name="T12" fmla="*/ 26 w 26"/>
                <a:gd name="T13" fmla="*/ 6 h 37"/>
                <a:gd name="T14" fmla="*/ 25 w 26"/>
                <a:gd name="T15" fmla="*/ 11 h 37"/>
                <a:gd name="T16" fmla="*/ 24 w 26"/>
                <a:gd name="T17" fmla="*/ 17 h 37"/>
                <a:gd name="T18" fmla="*/ 23 w 26"/>
                <a:gd name="T19" fmla="*/ 21 h 37"/>
                <a:gd name="T20" fmla="*/ 18 w 26"/>
                <a:gd name="T21" fmla="*/ 29 h 37"/>
                <a:gd name="T22" fmla="*/ 13 w 26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96" name="Freeform 112">
              <a:extLst>
                <a:ext uri="{FF2B5EF4-FFF2-40B4-BE49-F238E27FC236}">
                  <a16:creationId xmlns:a16="http://schemas.microsoft.com/office/drawing/2014/main" xmlns="" id="{C7372793-A8B0-4648-B6B7-2269C1883071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011988" y="2587625"/>
              <a:ext cx="1587" cy="60325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12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97" name="Freeform 113">
              <a:extLst>
                <a:ext uri="{FF2B5EF4-FFF2-40B4-BE49-F238E27FC236}">
                  <a16:creationId xmlns:a16="http://schemas.microsoft.com/office/drawing/2014/main" xmlns="" id="{C3A889DE-C2F5-4120-8C1A-423671903E95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863975" y="1714500"/>
              <a:ext cx="9525" cy="57150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98" name="Freeform 114">
              <a:extLst>
                <a:ext uri="{FF2B5EF4-FFF2-40B4-BE49-F238E27FC236}">
                  <a16:creationId xmlns:a16="http://schemas.microsoft.com/office/drawing/2014/main" xmlns="" id="{8B37EB41-2499-4040-BC7D-25FFE6743EB1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849688" y="1482725"/>
              <a:ext cx="3175" cy="57150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99" name="Freeform 115">
              <a:extLst>
                <a:ext uri="{FF2B5EF4-FFF2-40B4-BE49-F238E27FC236}">
                  <a16:creationId xmlns:a16="http://schemas.microsoft.com/office/drawing/2014/main" xmlns="" id="{EC5A5D64-2615-454C-9A20-858772282D85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330825" y="3260725"/>
              <a:ext cx="25400" cy="55563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00" name="Freeform 116">
              <a:extLst>
                <a:ext uri="{FF2B5EF4-FFF2-40B4-BE49-F238E27FC236}">
                  <a16:creationId xmlns:a16="http://schemas.microsoft.com/office/drawing/2014/main" xmlns="" id="{00B80848-BFE6-4DC9-8C20-3B008160BCF0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033963" y="3122613"/>
              <a:ext cx="19050" cy="58737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grpSp>
          <p:nvGrpSpPr>
            <p:cNvPr id="101" name="Group 117">
              <a:extLst>
                <a:ext uri="{FF2B5EF4-FFF2-40B4-BE49-F238E27FC236}">
                  <a16:creationId xmlns:a16="http://schemas.microsoft.com/office/drawing/2014/main" xmlns="" id="{782C1067-A670-4D7C-AAC6-AED59647CCAC}"/>
                </a:ext>
              </a:extLst>
            </p:cNvPr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5805488" y="3309938"/>
              <a:ext cx="46037" cy="374650"/>
              <a:chOff x="3950" y="2430"/>
              <a:chExt cx="36" cy="234"/>
            </a:xfrm>
          </p:grpSpPr>
          <p:sp>
            <p:nvSpPr>
              <p:cNvPr id="504" name="Freeform 118">
                <a:extLst>
                  <a:ext uri="{FF2B5EF4-FFF2-40B4-BE49-F238E27FC236}">
                    <a16:creationId xmlns:a16="http://schemas.microsoft.com/office/drawing/2014/main" xmlns="" id="{66C07AAD-70B7-4856-896C-D942CA4859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05" name="Freeform 119">
                <a:extLst>
                  <a:ext uri="{FF2B5EF4-FFF2-40B4-BE49-F238E27FC236}">
                    <a16:creationId xmlns:a16="http://schemas.microsoft.com/office/drawing/2014/main" xmlns="" id="{403689D0-0313-4102-8551-DB077447F0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06" name="Freeform 120">
                <a:extLst>
                  <a:ext uri="{FF2B5EF4-FFF2-40B4-BE49-F238E27FC236}">
                    <a16:creationId xmlns:a16="http://schemas.microsoft.com/office/drawing/2014/main" xmlns="" id="{9F3123F5-3D50-40DA-B3D7-1EAFA7C99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07" name="Rectangle 121">
                <a:extLst>
                  <a:ext uri="{FF2B5EF4-FFF2-40B4-BE49-F238E27FC236}">
                    <a16:creationId xmlns:a16="http://schemas.microsoft.com/office/drawing/2014/main" xmlns="" id="{81705F38-BFB8-46F4-BCC9-802231FA2B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08" name="Line 122">
                <a:extLst>
                  <a:ext uri="{FF2B5EF4-FFF2-40B4-BE49-F238E27FC236}">
                    <a16:creationId xmlns:a16="http://schemas.microsoft.com/office/drawing/2014/main" xmlns="" id="{070A527D-D415-4959-9645-C8C010AC97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09" name="Freeform 123">
                <a:extLst>
                  <a:ext uri="{FF2B5EF4-FFF2-40B4-BE49-F238E27FC236}">
                    <a16:creationId xmlns:a16="http://schemas.microsoft.com/office/drawing/2014/main" xmlns="" id="{97FB43D9-1DAC-4A7E-AAED-A6394A9D7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10" name="Freeform 124">
                <a:extLst>
                  <a:ext uri="{FF2B5EF4-FFF2-40B4-BE49-F238E27FC236}">
                    <a16:creationId xmlns:a16="http://schemas.microsoft.com/office/drawing/2014/main" xmlns="" id="{7A01E526-CF66-4613-98BE-0E5CA8ABA1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11" name="Line 125">
                <a:extLst>
                  <a:ext uri="{FF2B5EF4-FFF2-40B4-BE49-F238E27FC236}">
                    <a16:creationId xmlns:a16="http://schemas.microsoft.com/office/drawing/2014/main" xmlns="" id="{73E96CDD-49C9-4DE7-9897-A5BB42BDF1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12" name="Freeform 126">
                <a:extLst>
                  <a:ext uri="{FF2B5EF4-FFF2-40B4-BE49-F238E27FC236}">
                    <a16:creationId xmlns:a16="http://schemas.microsoft.com/office/drawing/2014/main" xmlns="" id="{0212AD83-D04C-4A38-98EA-7565AF835F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13" name="Freeform 127">
                <a:extLst>
                  <a:ext uri="{FF2B5EF4-FFF2-40B4-BE49-F238E27FC236}">
                    <a16:creationId xmlns:a16="http://schemas.microsoft.com/office/drawing/2014/main" xmlns="" id="{FBE4BAC4-7DE9-4E35-A698-845CA40124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14" name="Line 128">
                <a:extLst>
                  <a:ext uri="{FF2B5EF4-FFF2-40B4-BE49-F238E27FC236}">
                    <a16:creationId xmlns:a16="http://schemas.microsoft.com/office/drawing/2014/main" xmlns="" id="{5BEEC1BC-68E3-4A5C-8D11-1AD30E3B190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15" name="Freeform 129">
                <a:extLst>
                  <a:ext uri="{FF2B5EF4-FFF2-40B4-BE49-F238E27FC236}">
                    <a16:creationId xmlns:a16="http://schemas.microsoft.com/office/drawing/2014/main" xmlns="" id="{EE68BCDA-8FAD-40C0-85AB-3BD4F1658B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16" name="Freeform 130">
                <a:extLst>
                  <a:ext uri="{FF2B5EF4-FFF2-40B4-BE49-F238E27FC236}">
                    <a16:creationId xmlns:a16="http://schemas.microsoft.com/office/drawing/2014/main" xmlns="" id="{1D94E1C9-CBB3-4FCE-9CE5-9BAF7F689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17" name="Freeform 131">
                <a:extLst>
                  <a:ext uri="{FF2B5EF4-FFF2-40B4-BE49-F238E27FC236}">
                    <a16:creationId xmlns:a16="http://schemas.microsoft.com/office/drawing/2014/main" xmlns="" id="{2BAB35FD-0913-4256-BFF3-C2213AE249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18" name="Freeform 132">
                <a:extLst>
                  <a:ext uri="{FF2B5EF4-FFF2-40B4-BE49-F238E27FC236}">
                    <a16:creationId xmlns:a16="http://schemas.microsoft.com/office/drawing/2014/main" xmlns="" id="{46742ABB-518A-4A04-9DA4-2EC584E987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19" name="Freeform 133">
                <a:extLst>
                  <a:ext uri="{FF2B5EF4-FFF2-40B4-BE49-F238E27FC236}">
                    <a16:creationId xmlns:a16="http://schemas.microsoft.com/office/drawing/2014/main" xmlns="" id="{8D0678B2-C80B-4070-836B-9DAF0D6286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20" name="Freeform 134">
                <a:extLst>
                  <a:ext uri="{FF2B5EF4-FFF2-40B4-BE49-F238E27FC236}">
                    <a16:creationId xmlns:a16="http://schemas.microsoft.com/office/drawing/2014/main" xmlns="" id="{4F7DF38D-EB3D-4D78-BDB0-819E90C102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21" name="Freeform 135">
                <a:extLst>
                  <a:ext uri="{FF2B5EF4-FFF2-40B4-BE49-F238E27FC236}">
                    <a16:creationId xmlns:a16="http://schemas.microsoft.com/office/drawing/2014/main" xmlns="" id="{4BEE1B56-9D4F-4A10-890C-B053ACD69C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22" name="Rectangle 136">
                <a:extLst>
                  <a:ext uri="{FF2B5EF4-FFF2-40B4-BE49-F238E27FC236}">
                    <a16:creationId xmlns:a16="http://schemas.microsoft.com/office/drawing/2014/main" xmlns="" id="{539F8A1D-934C-426F-8E9D-78E6FCC0B8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23" name="Line 137">
                <a:extLst>
                  <a:ext uri="{FF2B5EF4-FFF2-40B4-BE49-F238E27FC236}">
                    <a16:creationId xmlns:a16="http://schemas.microsoft.com/office/drawing/2014/main" xmlns="" id="{802BCB5C-E651-49AD-80FF-4B9016FBAF4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24" name="Freeform 138">
                <a:extLst>
                  <a:ext uri="{FF2B5EF4-FFF2-40B4-BE49-F238E27FC236}">
                    <a16:creationId xmlns:a16="http://schemas.microsoft.com/office/drawing/2014/main" xmlns="" id="{CF7D681E-5088-4EE9-8C65-5F1F9673F3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25" name="Freeform 139">
                <a:extLst>
                  <a:ext uri="{FF2B5EF4-FFF2-40B4-BE49-F238E27FC236}">
                    <a16:creationId xmlns:a16="http://schemas.microsoft.com/office/drawing/2014/main" xmlns="" id="{0A1CCBBE-6E21-427C-B36D-984F5FB6ED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26" name="Line 140">
                <a:extLst>
                  <a:ext uri="{FF2B5EF4-FFF2-40B4-BE49-F238E27FC236}">
                    <a16:creationId xmlns:a16="http://schemas.microsoft.com/office/drawing/2014/main" xmlns="" id="{E49FD741-1320-46B5-88AA-613472CE19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27" name="Freeform 141">
                <a:extLst>
                  <a:ext uri="{FF2B5EF4-FFF2-40B4-BE49-F238E27FC236}">
                    <a16:creationId xmlns:a16="http://schemas.microsoft.com/office/drawing/2014/main" xmlns="" id="{4FF74084-E13B-4BF7-8A5C-8D5245E04B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28" name="Freeform 142">
                <a:extLst>
                  <a:ext uri="{FF2B5EF4-FFF2-40B4-BE49-F238E27FC236}">
                    <a16:creationId xmlns:a16="http://schemas.microsoft.com/office/drawing/2014/main" xmlns="" id="{BEE1D269-2251-4683-86DC-463A83252A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29" name="Line 143">
                <a:extLst>
                  <a:ext uri="{FF2B5EF4-FFF2-40B4-BE49-F238E27FC236}">
                    <a16:creationId xmlns:a16="http://schemas.microsoft.com/office/drawing/2014/main" xmlns="" id="{1A61AE59-55DC-4A58-A458-BD7AA4D197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30" name="Freeform 144">
                <a:extLst>
                  <a:ext uri="{FF2B5EF4-FFF2-40B4-BE49-F238E27FC236}">
                    <a16:creationId xmlns:a16="http://schemas.microsoft.com/office/drawing/2014/main" xmlns="" id="{2545A739-D671-48EF-BC82-E416C45943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31" name="Freeform 145">
                <a:extLst>
                  <a:ext uri="{FF2B5EF4-FFF2-40B4-BE49-F238E27FC236}">
                    <a16:creationId xmlns:a16="http://schemas.microsoft.com/office/drawing/2014/main" xmlns="" id="{CC24BF20-D465-44BA-8E69-FD9676F612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32" name="Freeform 146">
                <a:extLst>
                  <a:ext uri="{FF2B5EF4-FFF2-40B4-BE49-F238E27FC236}">
                    <a16:creationId xmlns:a16="http://schemas.microsoft.com/office/drawing/2014/main" xmlns="" id="{C1D86801-4B3E-4B02-98EC-8F99B3CC62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33" name="Freeform 147">
                <a:extLst>
                  <a:ext uri="{FF2B5EF4-FFF2-40B4-BE49-F238E27FC236}">
                    <a16:creationId xmlns:a16="http://schemas.microsoft.com/office/drawing/2014/main" xmlns="" id="{7071BE1A-84DB-460F-A939-9046C3376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34" name="Freeform 148">
                <a:extLst>
                  <a:ext uri="{FF2B5EF4-FFF2-40B4-BE49-F238E27FC236}">
                    <a16:creationId xmlns:a16="http://schemas.microsoft.com/office/drawing/2014/main" xmlns="" id="{6D6B4D24-9447-4C08-AF22-E8CD940F99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</p:grpSp>
        <p:grpSp>
          <p:nvGrpSpPr>
            <p:cNvPr id="102" name="Group 149">
              <a:extLst>
                <a:ext uri="{FF2B5EF4-FFF2-40B4-BE49-F238E27FC236}">
                  <a16:creationId xmlns:a16="http://schemas.microsoft.com/office/drawing/2014/main" xmlns="" id="{E76161E5-1F32-4507-A1A5-8AD6BA2D040A}"/>
                </a:ext>
              </a:extLst>
            </p:cNvPr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7870825" y="3810000"/>
              <a:ext cx="185738" cy="214313"/>
              <a:chOff x="5486" y="2743"/>
              <a:chExt cx="137" cy="132"/>
            </a:xfrm>
          </p:grpSpPr>
          <p:sp>
            <p:nvSpPr>
              <p:cNvPr id="495" name="Freeform 150">
                <a:extLst>
                  <a:ext uri="{FF2B5EF4-FFF2-40B4-BE49-F238E27FC236}">
                    <a16:creationId xmlns:a16="http://schemas.microsoft.com/office/drawing/2014/main" xmlns="" id="{56A4080F-86DA-473F-93B5-9FD17F6AAB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96" name="Freeform 151">
                <a:extLst>
                  <a:ext uri="{FF2B5EF4-FFF2-40B4-BE49-F238E27FC236}">
                    <a16:creationId xmlns:a16="http://schemas.microsoft.com/office/drawing/2014/main" xmlns="" id="{ECC2D09A-FEB7-4345-9D94-7F3E996EEB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97" name="Freeform 152">
                <a:extLst>
                  <a:ext uri="{FF2B5EF4-FFF2-40B4-BE49-F238E27FC236}">
                    <a16:creationId xmlns:a16="http://schemas.microsoft.com/office/drawing/2014/main" xmlns="" id="{84E5B4A6-3124-4662-93A2-FA9D0F207D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98" name="Freeform 153">
                <a:extLst>
                  <a:ext uri="{FF2B5EF4-FFF2-40B4-BE49-F238E27FC236}">
                    <a16:creationId xmlns:a16="http://schemas.microsoft.com/office/drawing/2014/main" xmlns="" id="{D31D6922-1611-47DD-B8D7-F553ED34E1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99" name="Freeform 154">
                <a:extLst>
                  <a:ext uri="{FF2B5EF4-FFF2-40B4-BE49-F238E27FC236}">
                    <a16:creationId xmlns:a16="http://schemas.microsoft.com/office/drawing/2014/main" xmlns="" id="{6164A89B-6AEA-4C97-9A63-7B91331831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00" name="Freeform 155">
                <a:extLst>
                  <a:ext uri="{FF2B5EF4-FFF2-40B4-BE49-F238E27FC236}">
                    <a16:creationId xmlns:a16="http://schemas.microsoft.com/office/drawing/2014/main" xmlns="" id="{E7984ADA-F90D-4A55-92D7-26A4A4C71A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01" name="Freeform 156">
                <a:extLst>
                  <a:ext uri="{FF2B5EF4-FFF2-40B4-BE49-F238E27FC236}">
                    <a16:creationId xmlns:a16="http://schemas.microsoft.com/office/drawing/2014/main" xmlns="" id="{30B65E36-DA9E-42A3-AA4E-2D612FD3C1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w 20"/>
                  <a:gd name="T2" fmla="*/ 10 w 20"/>
                  <a:gd name="T3" fmla="*/ 2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02" name="Freeform 157">
                <a:extLst>
                  <a:ext uri="{FF2B5EF4-FFF2-40B4-BE49-F238E27FC236}">
                    <a16:creationId xmlns:a16="http://schemas.microsoft.com/office/drawing/2014/main" xmlns="" id="{07F01BCC-3226-4778-AEC6-6BA909D87D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503" name="Freeform 158">
                <a:extLst>
                  <a:ext uri="{FF2B5EF4-FFF2-40B4-BE49-F238E27FC236}">
                    <a16:creationId xmlns:a16="http://schemas.microsoft.com/office/drawing/2014/main" xmlns="" id="{281BE73F-143E-4164-8780-82F7C32974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</p:grpSp>
        <p:sp>
          <p:nvSpPr>
            <p:cNvPr id="103" name="Freeform 159">
              <a:extLst>
                <a:ext uri="{FF2B5EF4-FFF2-40B4-BE49-F238E27FC236}">
                  <a16:creationId xmlns:a16="http://schemas.microsoft.com/office/drawing/2014/main" xmlns="" id="{EE0B416A-AD88-467B-9075-15034DFC1CDE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4216400" y="3548063"/>
              <a:ext cx="11113" cy="55562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04" name="Freeform 160">
              <a:extLst>
                <a:ext uri="{FF2B5EF4-FFF2-40B4-BE49-F238E27FC236}">
                  <a16:creationId xmlns:a16="http://schemas.microsoft.com/office/drawing/2014/main" xmlns="" id="{909CA20A-05E8-41BD-B9FE-CFD3149393F4}"/>
                </a:ext>
              </a:extLst>
            </p:cNvPr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140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05" name="Freeform 161">
              <a:extLst>
                <a:ext uri="{FF2B5EF4-FFF2-40B4-BE49-F238E27FC236}">
                  <a16:creationId xmlns:a16="http://schemas.microsoft.com/office/drawing/2014/main" xmlns="" id="{4F7D3DF0-A528-42CE-B785-1C7D4743B186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5938838" y="2014538"/>
              <a:ext cx="728662" cy="331787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06" name="Freeform 162">
              <a:extLst>
                <a:ext uri="{FF2B5EF4-FFF2-40B4-BE49-F238E27FC236}">
                  <a16:creationId xmlns:a16="http://schemas.microsoft.com/office/drawing/2014/main" xmlns="" id="{EEE81508-A2A5-4D7E-A47C-C0D529E96E42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265363" y="3981450"/>
              <a:ext cx="328612" cy="415925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07" name="Freeform 163">
              <a:extLst>
                <a:ext uri="{FF2B5EF4-FFF2-40B4-BE49-F238E27FC236}">
                  <a16:creationId xmlns:a16="http://schemas.microsoft.com/office/drawing/2014/main" xmlns="" id="{F86E05DB-4FF2-44B9-A9E5-E2F04CC3B5C2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479675" y="3411538"/>
              <a:ext cx="119063" cy="21590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grpSp>
          <p:nvGrpSpPr>
            <p:cNvPr id="108" name="Group 164">
              <a:extLst>
                <a:ext uri="{FF2B5EF4-FFF2-40B4-BE49-F238E27FC236}">
                  <a16:creationId xmlns:a16="http://schemas.microsoft.com/office/drawing/2014/main" xmlns="" id="{3A06CB06-46DE-4BBF-955E-B5E2B4385CBE}"/>
                </a:ext>
              </a:extLst>
            </p:cNvPr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2193925" y="3246438"/>
              <a:ext cx="323850" cy="401637"/>
              <a:chOff x="1486" y="2412"/>
              <a:chExt cx="244" cy="256"/>
            </a:xfrm>
          </p:grpSpPr>
          <p:sp>
            <p:nvSpPr>
              <p:cNvPr id="491" name="Freeform 165">
                <a:extLst>
                  <a:ext uri="{FF2B5EF4-FFF2-40B4-BE49-F238E27FC236}">
                    <a16:creationId xmlns:a16="http://schemas.microsoft.com/office/drawing/2014/main" xmlns="" id="{0967D561-3C2E-44FC-836C-19F6D9DA0D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92" name="Freeform 166">
                <a:extLst>
                  <a:ext uri="{FF2B5EF4-FFF2-40B4-BE49-F238E27FC236}">
                    <a16:creationId xmlns:a16="http://schemas.microsoft.com/office/drawing/2014/main" xmlns="" id="{0AE03DB0-9609-43FF-928A-E2BD0D9FA7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93" name="Freeform 167">
                <a:extLst>
                  <a:ext uri="{FF2B5EF4-FFF2-40B4-BE49-F238E27FC236}">
                    <a16:creationId xmlns:a16="http://schemas.microsoft.com/office/drawing/2014/main" xmlns="" id="{A29F1453-B73D-434A-A7BD-632D98EE5B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94" name="Freeform 168">
                <a:extLst>
                  <a:ext uri="{FF2B5EF4-FFF2-40B4-BE49-F238E27FC236}">
                    <a16:creationId xmlns:a16="http://schemas.microsoft.com/office/drawing/2014/main" xmlns="" id="{A3BFD5E4-E8C4-4D22-A33D-B948C65796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</p:grpSp>
        <p:sp>
          <p:nvSpPr>
            <p:cNvPr id="109" name="Freeform 169">
              <a:extLst>
                <a:ext uri="{FF2B5EF4-FFF2-40B4-BE49-F238E27FC236}">
                  <a16:creationId xmlns:a16="http://schemas.microsoft.com/office/drawing/2014/main" xmlns="" id="{479491AD-93A6-477E-9BFB-CB64E0A4FBD7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215188" y="4786313"/>
              <a:ext cx="31750" cy="11112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10" name="Freeform 170">
              <a:extLst>
                <a:ext uri="{FF2B5EF4-FFF2-40B4-BE49-F238E27FC236}">
                  <a16:creationId xmlns:a16="http://schemas.microsoft.com/office/drawing/2014/main" xmlns="" id="{0BFFB777-FF4A-4E6C-AA3B-091579D0F5CF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331075" y="4919663"/>
              <a:ext cx="1588" cy="4762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11" name="Line 171">
              <a:extLst>
                <a:ext uri="{FF2B5EF4-FFF2-40B4-BE49-F238E27FC236}">
                  <a16:creationId xmlns:a16="http://schemas.microsoft.com/office/drawing/2014/main" xmlns="" id="{05FF9AAB-4CD2-4F4C-A7C3-D18E71BBAA2A}"/>
                </a:ext>
              </a:extLst>
            </p:cNvPr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7421563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12" name="Freeform 172">
              <a:extLst>
                <a:ext uri="{FF2B5EF4-FFF2-40B4-BE49-F238E27FC236}">
                  <a16:creationId xmlns:a16="http://schemas.microsoft.com/office/drawing/2014/main" xmlns="" id="{1DB4FC17-0C47-41D1-A190-1B640A0E24BD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7421563" y="4918075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13" name="Freeform 173">
              <a:extLst>
                <a:ext uri="{FF2B5EF4-FFF2-40B4-BE49-F238E27FC236}">
                  <a16:creationId xmlns:a16="http://schemas.microsoft.com/office/drawing/2014/main" xmlns="" id="{682AEE06-35E4-4A73-9A16-87D323324BCE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720013" y="4387850"/>
              <a:ext cx="22225" cy="28575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14" name="Freeform 174">
              <a:extLst>
                <a:ext uri="{FF2B5EF4-FFF2-40B4-BE49-F238E27FC236}">
                  <a16:creationId xmlns:a16="http://schemas.microsoft.com/office/drawing/2014/main" xmlns="" id="{1179A9F3-EED2-4DB8-9EE5-EB88F702C421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726363" y="4314825"/>
              <a:ext cx="26987" cy="39688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15" name="Freeform 175">
              <a:extLst>
                <a:ext uri="{FF2B5EF4-FFF2-40B4-BE49-F238E27FC236}">
                  <a16:creationId xmlns:a16="http://schemas.microsoft.com/office/drawing/2014/main" xmlns="" id="{156C95F7-CA3B-4FAA-A071-E8428D03A5B4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702550" y="4291013"/>
              <a:ext cx="17463" cy="3016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16" name="Freeform 176">
              <a:extLst>
                <a:ext uri="{FF2B5EF4-FFF2-40B4-BE49-F238E27FC236}">
                  <a16:creationId xmlns:a16="http://schemas.microsoft.com/office/drawing/2014/main" xmlns="" id="{386DCA24-5045-4E7D-B9F2-391E7EEF4C25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621588" y="4168775"/>
              <a:ext cx="68262" cy="138113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17" name="Line 177">
              <a:extLst>
                <a:ext uri="{FF2B5EF4-FFF2-40B4-BE49-F238E27FC236}">
                  <a16:creationId xmlns:a16="http://schemas.microsoft.com/office/drawing/2014/main" xmlns="" id="{DA1215AA-DEAD-4395-9519-5B9256C76A9E}"/>
                </a:ext>
              </a:extLst>
            </p:cNvPr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7615238" y="4135438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18" name="Freeform 178">
              <a:extLst>
                <a:ext uri="{FF2B5EF4-FFF2-40B4-BE49-F238E27FC236}">
                  <a16:creationId xmlns:a16="http://schemas.microsoft.com/office/drawing/2014/main" xmlns="" id="{0C340B08-7723-46D2-B61C-72EA232E0513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615238" y="4119563"/>
              <a:ext cx="6350" cy="15875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19" name="Line 179">
              <a:extLst>
                <a:ext uri="{FF2B5EF4-FFF2-40B4-BE49-F238E27FC236}">
                  <a16:creationId xmlns:a16="http://schemas.microsoft.com/office/drawing/2014/main" xmlns="" id="{23966450-72BD-4E9A-B0DF-EEF2386282EC}"/>
                </a:ext>
              </a:extLst>
            </p:cNvPr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7621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20" name="Freeform 180">
              <a:extLst>
                <a:ext uri="{FF2B5EF4-FFF2-40B4-BE49-F238E27FC236}">
                  <a16:creationId xmlns:a16="http://schemas.microsoft.com/office/drawing/2014/main" xmlns="" id="{3F3D314C-7841-4E79-9D1F-5389EB3BEA39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575550" y="4040188"/>
              <a:ext cx="46038" cy="6667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21" name="Freeform 181">
              <a:extLst>
                <a:ext uri="{FF2B5EF4-FFF2-40B4-BE49-F238E27FC236}">
                  <a16:creationId xmlns:a16="http://schemas.microsoft.com/office/drawing/2014/main" xmlns="" id="{3D3F17A1-4A7E-4026-91F8-64563C2EECA3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589838" y="3983038"/>
              <a:ext cx="1587" cy="50800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22" name="Freeform 182">
              <a:extLst>
                <a:ext uri="{FF2B5EF4-FFF2-40B4-BE49-F238E27FC236}">
                  <a16:creationId xmlns:a16="http://schemas.microsoft.com/office/drawing/2014/main" xmlns="" id="{EA02808A-D997-49BC-9BC9-2377A2F4AFA8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596188" y="3976688"/>
              <a:ext cx="7937" cy="36512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23" name="Freeform 183">
              <a:extLst>
                <a:ext uri="{FF2B5EF4-FFF2-40B4-BE49-F238E27FC236}">
                  <a16:creationId xmlns:a16="http://schemas.microsoft.com/office/drawing/2014/main" xmlns="" id="{C4273E50-885C-4289-9E6E-DEA0F28B66C4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612063" y="3957638"/>
              <a:ext cx="1587" cy="22225"/>
            </a:xfrm>
            <a:custGeom>
              <a:avLst/>
              <a:gdLst>
                <a:gd name="T0" fmla="*/ 0 h 43"/>
                <a:gd name="T1" fmla="*/ 13 h 43"/>
                <a:gd name="T2" fmla="*/ 26 h 43"/>
                <a:gd name="T3" fmla="*/ 37 h 43"/>
                <a:gd name="T4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24" name="Line 184">
              <a:extLst>
                <a:ext uri="{FF2B5EF4-FFF2-40B4-BE49-F238E27FC236}">
                  <a16:creationId xmlns:a16="http://schemas.microsoft.com/office/drawing/2014/main" xmlns="" id="{BAE02BD1-162F-41F8-8682-0412E5F9A1E9}"/>
                </a:ext>
              </a:extLst>
            </p:cNvPr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7612063" y="3976688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25" name="Freeform 185">
              <a:extLst>
                <a:ext uri="{FF2B5EF4-FFF2-40B4-BE49-F238E27FC236}">
                  <a16:creationId xmlns:a16="http://schemas.microsoft.com/office/drawing/2014/main" xmlns="" id="{E0E80C13-6334-4BE2-8073-D7F7481D1E42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596188" y="3960813"/>
              <a:ext cx="1587" cy="15875"/>
            </a:xfrm>
            <a:custGeom>
              <a:avLst/>
              <a:gdLst>
                <a:gd name="T0" fmla="*/ 31 h 31"/>
                <a:gd name="T1" fmla="*/ 22 h 31"/>
                <a:gd name="T2" fmla="*/ 15 h 31"/>
                <a:gd name="T3" fmla="*/ 8 h 31"/>
                <a:gd name="T4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26" name="Freeform 186">
              <a:extLst>
                <a:ext uri="{FF2B5EF4-FFF2-40B4-BE49-F238E27FC236}">
                  <a16:creationId xmlns:a16="http://schemas.microsoft.com/office/drawing/2014/main" xmlns="" id="{C6DB874F-E10C-4F7C-BD5D-D17CD07989A5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316788" y="4949825"/>
              <a:ext cx="96837" cy="87313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27" name="Freeform 187">
              <a:extLst>
                <a:ext uri="{FF2B5EF4-FFF2-40B4-BE49-F238E27FC236}">
                  <a16:creationId xmlns:a16="http://schemas.microsoft.com/office/drawing/2014/main" xmlns="" id="{C53B008F-69DC-49AC-8F99-FE5598337D85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454900" y="4168775"/>
              <a:ext cx="3175" cy="17463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28" name="Freeform 188">
              <a:extLst>
                <a:ext uri="{FF2B5EF4-FFF2-40B4-BE49-F238E27FC236}">
                  <a16:creationId xmlns:a16="http://schemas.microsoft.com/office/drawing/2014/main" xmlns="" id="{6864577C-3224-4198-AADB-4555ED775854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7388225" y="4090988"/>
              <a:ext cx="15875" cy="15875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29" name="Freeform 189">
              <a:extLst>
                <a:ext uri="{FF2B5EF4-FFF2-40B4-BE49-F238E27FC236}">
                  <a16:creationId xmlns:a16="http://schemas.microsoft.com/office/drawing/2014/main" xmlns="" id="{B56F886B-2A5A-461D-A483-21AF4A2B1ED1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7404100" y="4003675"/>
              <a:ext cx="3175" cy="9525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30" name="Freeform 190">
              <a:extLst>
                <a:ext uri="{FF2B5EF4-FFF2-40B4-BE49-F238E27FC236}">
                  <a16:creationId xmlns:a16="http://schemas.microsoft.com/office/drawing/2014/main" xmlns="" id="{DE4ACD59-D9BD-4D31-B1FD-8E5381A62601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7243763" y="4006850"/>
              <a:ext cx="36512" cy="2222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31" name="Freeform 191">
              <a:extLst>
                <a:ext uri="{FF2B5EF4-FFF2-40B4-BE49-F238E27FC236}">
                  <a16:creationId xmlns:a16="http://schemas.microsoft.com/office/drawing/2014/main" xmlns="" id="{D25C976D-BA77-48D6-8EB5-1B2A7E690465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488238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32" name="Freeform 192">
              <a:extLst>
                <a:ext uri="{FF2B5EF4-FFF2-40B4-BE49-F238E27FC236}">
                  <a16:creationId xmlns:a16="http://schemas.microsoft.com/office/drawing/2014/main" xmlns="" id="{092A554F-9E4A-4F22-8407-527603E0E9AE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724650" y="3976688"/>
              <a:ext cx="1019175" cy="908050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33" name="Freeform 193">
              <a:extLst>
                <a:ext uri="{FF2B5EF4-FFF2-40B4-BE49-F238E27FC236}">
                  <a16:creationId xmlns:a16="http://schemas.microsoft.com/office/drawing/2014/main" xmlns="" id="{8C7607BF-2B13-4326-9504-54F188F67FB1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1211263" y="2643188"/>
              <a:ext cx="668337" cy="58102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34" name="Freeform 194">
              <a:extLst>
                <a:ext uri="{FF2B5EF4-FFF2-40B4-BE49-F238E27FC236}">
                  <a16:creationId xmlns:a16="http://schemas.microsoft.com/office/drawing/2014/main" xmlns="" id="{9A615D49-5D69-478E-B231-18225F51E20B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486025" y="4283075"/>
              <a:ext cx="211138" cy="26511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35" name="Freeform 195">
              <a:extLst>
                <a:ext uri="{FF2B5EF4-FFF2-40B4-BE49-F238E27FC236}">
                  <a16:creationId xmlns:a16="http://schemas.microsoft.com/office/drawing/2014/main" xmlns="" id="{846D6A25-4BA5-4D71-A95C-E012AD34148A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655888" y="3487738"/>
              <a:ext cx="73025" cy="109537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36" name="Freeform 196">
              <a:extLst>
                <a:ext uri="{FF2B5EF4-FFF2-40B4-BE49-F238E27FC236}">
                  <a16:creationId xmlns:a16="http://schemas.microsoft.com/office/drawing/2014/main" xmlns="" id="{404894D3-40D1-4834-8618-BD17BF9EFBA3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170113" y="3046413"/>
              <a:ext cx="69850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37" name="Freeform 197">
              <a:extLst>
                <a:ext uri="{FF2B5EF4-FFF2-40B4-BE49-F238E27FC236}">
                  <a16:creationId xmlns:a16="http://schemas.microsoft.com/office/drawing/2014/main" xmlns="" id="{CCF32A75-1E7C-4C0F-8381-E46FD4F0EA8D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38" name="Freeform 198">
              <a:extLst>
                <a:ext uri="{FF2B5EF4-FFF2-40B4-BE49-F238E27FC236}">
                  <a16:creationId xmlns:a16="http://schemas.microsoft.com/office/drawing/2014/main" xmlns="" id="{E4ACEF4E-4FA3-4A2D-AE73-0BA17BA9DC5C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501900" y="5380038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39" name="Freeform 199">
              <a:extLst>
                <a:ext uri="{FF2B5EF4-FFF2-40B4-BE49-F238E27FC236}">
                  <a16:creationId xmlns:a16="http://schemas.microsoft.com/office/drawing/2014/main" xmlns="" id="{160A1128-1543-4D15-8658-1433E2FF6D4A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501900" y="5359400"/>
              <a:ext cx="22225" cy="60325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40" name="Freeform 200">
              <a:extLst>
                <a:ext uri="{FF2B5EF4-FFF2-40B4-BE49-F238E27FC236}">
                  <a16:creationId xmlns:a16="http://schemas.microsoft.com/office/drawing/2014/main" xmlns="" id="{3780E3DB-C273-41DB-A95A-21E4DCFFED72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471738" y="5353050"/>
              <a:ext cx="25400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41" name="Freeform 201">
              <a:extLst>
                <a:ext uri="{FF2B5EF4-FFF2-40B4-BE49-F238E27FC236}">
                  <a16:creationId xmlns:a16="http://schemas.microsoft.com/office/drawing/2014/main" xmlns="" id="{858CF05F-F05F-4576-8C3D-F91841EE57ED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446338" y="5343525"/>
              <a:ext cx="28575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42" name="Freeform 202">
              <a:extLst>
                <a:ext uri="{FF2B5EF4-FFF2-40B4-BE49-F238E27FC236}">
                  <a16:creationId xmlns:a16="http://schemas.microsoft.com/office/drawing/2014/main" xmlns="" id="{EF5A6D01-6FC8-44A5-8C26-9146F9968769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422525" y="5330825"/>
              <a:ext cx="33338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43" name="Freeform 203">
              <a:extLst>
                <a:ext uri="{FF2B5EF4-FFF2-40B4-BE49-F238E27FC236}">
                  <a16:creationId xmlns:a16="http://schemas.microsoft.com/office/drawing/2014/main" xmlns="" id="{FFCD31EE-3B78-4A98-B05D-9C3EC92C13CD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416175" y="5311775"/>
              <a:ext cx="30163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44" name="Freeform 204">
              <a:extLst>
                <a:ext uri="{FF2B5EF4-FFF2-40B4-BE49-F238E27FC236}">
                  <a16:creationId xmlns:a16="http://schemas.microsoft.com/office/drawing/2014/main" xmlns="" id="{D9D564DD-F43A-4614-B764-948928010668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316163" y="5002213"/>
              <a:ext cx="25400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45" name="Freeform 205">
              <a:extLst>
                <a:ext uri="{FF2B5EF4-FFF2-40B4-BE49-F238E27FC236}">
                  <a16:creationId xmlns:a16="http://schemas.microsoft.com/office/drawing/2014/main" xmlns="" id="{5A5360C8-938B-46EA-8976-25E98A7D89C8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346325" y="5097463"/>
              <a:ext cx="17463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46" name="Freeform 206">
              <a:extLst>
                <a:ext uri="{FF2B5EF4-FFF2-40B4-BE49-F238E27FC236}">
                  <a16:creationId xmlns:a16="http://schemas.microsoft.com/office/drawing/2014/main" xmlns="" id="{8F1C4E80-6658-4E8C-B3DD-CE1CB052F4BB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351088" y="5119688"/>
              <a:ext cx="7937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47" name="Freeform 207">
              <a:extLst>
                <a:ext uri="{FF2B5EF4-FFF2-40B4-BE49-F238E27FC236}">
                  <a16:creationId xmlns:a16="http://schemas.microsoft.com/office/drawing/2014/main" xmlns="" id="{326C444A-73DD-4E73-9108-87F2369D5EA8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365375" y="5181600"/>
              <a:ext cx="17463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48" name="Freeform 208">
              <a:extLst>
                <a:ext uri="{FF2B5EF4-FFF2-40B4-BE49-F238E27FC236}">
                  <a16:creationId xmlns:a16="http://schemas.microsoft.com/office/drawing/2014/main" xmlns="" id="{78E14225-66A3-4319-99F2-D21E2873F541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352675" y="5194300"/>
              <a:ext cx="26988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49" name="Freeform 209">
              <a:extLst>
                <a:ext uri="{FF2B5EF4-FFF2-40B4-BE49-F238E27FC236}">
                  <a16:creationId xmlns:a16="http://schemas.microsoft.com/office/drawing/2014/main" xmlns="" id="{4931BFDB-5620-4A91-8D1A-4142CAF744DB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382838" y="5227638"/>
              <a:ext cx="11112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50" name="Freeform 210">
              <a:extLst>
                <a:ext uri="{FF2B5EF4-FFF2-40B4-BE49-F238E27FC236}">
                  <a16:creationId xmlns:a16="http://schemas.microsoft.com/office/drawing/2014/main" xmlns="" id="{D0C5C7D6-9555-4A4F-9A07-BA3D18E26EB1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379663" y="5260975"/>
              <a:ext cx="20637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51" name="Freeform 211">
              <a:extLst>
                <a:ext uri="{FF2B5EF4-FFF2-40B4-BE49-F238E27FC236}">
                  <a16:creationId xmlns:a16="http://schemas.microsoft.com/office/drawing/2014/main" xmlns="" id="{B65C058C-2673-47E5-82C7-EA3D67A56BA5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403475" y="5275263"/>
              <a:ext cx="17463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52" name="Freeform 212">
              <a:extLst>
                <a:ext uri="{FF2B5EF4-FFF2-40B4-BE49-F238E27FC236}">
                  <a16:creationId xmlns:a16="http://schemas.microsoft.com/office/drawing/2014/main" xmlns="" id="{11B83BC8-E0C4-43ED-B845-B42578C05DFC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405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53" name="Freeform 213">
              <a:extLst>
                <a:ext uri="{FF2B5EF4-FFF2-40B4-BE49-F238E27FC236}">
                  <a16:creationId xmlns:a16="http://schemas.microsoft.com/office/drawing/2014/main" xmlns="" id="{D004692D-967C-4614-A064-4E71033746B7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479675" y="5373688"/>
              <a:ext cx="34925" cy="57150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54" name="Freeform 214">
              <a:extLst>
                <a:ext uri="{FF2B5EF4-FFF2-40B4-BE49-F238E27FC236}">
                  <a16:creationId xmlns:a16="http://schemas.microsoft.com/office/drawing/2014/main" xmlns="" id="{58875741-9EF3-465D-88A4-D52A3F8D80C5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517775" y="5314950"/>
              <a:ext cx="123825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55" name="Freeform 215">
              <a:extLst>
                <a:ext uri="{FF2B5EF4-FFF2-40B4-BE49-F238E27FC236}">
                  <a16:creationId xmlns:a16="http://schemas.microsoft.com/office/drawing/2014/main" xmlns="" id="{484ABF96-25B3-4EA7-A03F-197F6E1F657E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070100" y="3081338"/>
              <a:ext cx="5238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56" name="Freeform 216">
              <a:extLst>
                <a:ext uri="{FF2B5EF4-FFF2-40B4-BE49-F238E27FC236}">
                  <a16:creationId xmlns:a16="http://schemas.microsoft.com/office/drawing/2014/main" xmlns="" id="{D68DAED2-4B5D-4D79-B47D-45C4D31F86E1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927225" y="2943225"/>
              <a:ext cx="250825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00B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57" name="Freeform 217">
              <a:extLst>
                <a:ext uri="{FF2B5EF4-FFF2-40B4-BE49-F238E27FC236}">
                  <a16:creationId xmlns:a16="http://schemas.microsoft.com/office/drawing/2014/main" xmlns="" id="{073CB8A1-E294-4418-A244-6FE9927F7B72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232025" y="3046413"/>
              <a:ext cx="88900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58" name="Freeform 218">
              <a:extLst>
                <a:ext uri="{FF2B5EF4-FFF2-40B4-BE49-F238E27FC236}">
                  <a16:creationId xmlns:a16="http://schemas.microsoft.com/office/drawing/2014/main" xmlns="" id="{46E9D71C-2512-45E5-85AE-C146A7C99ED2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800225" y="3106738"/>
              <a:ext cx="33338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59" name="Freeform 219">
              <a:extLst>
                <a:ext uri="{FF2B5EF4-FFF2-40B4-BE49-F238E27FC236}">
                  <a16:creationId xmlns:a16="http://schemas.microsoft.com/office/drawing/2014/main" xmlns="" id="{CC012CE2-2117-4FE6-A801-E09DF0A716E0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720850" y="3106738"/>
              <a:ext cx="93663" cy="146050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60" name="Freeform 220">
              <a:extLst>
                <a:ext uri="{FF2B5EF4-FFF2-40B4-BE49-F238E27FC236}">
                  <a16:creationId xmlns:a16="http://schemas.microsoft.com/office/drawing/2014/main" xmlns="" id="{4BD360BC-0015-4BC8-BCB9-BC3A93343666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768475" y="3217863"/>
              <a:ext cx="71438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61" name="Freeform 221">
              <a:extLst>
                <a:ext uri="{FF2B5EF4-FFF2-40B4-BE49-F238E27FC236}">
                  <a16:creationId xmlns:a16="http://schemas.microsoft.com/office/drawing/2014/main" xmlns="" id="{5BCFD79A-7FE6-465C-A970-7F2DAEDFAE3F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800225" y="3179763"/>
              <a:ext cx="142875" cy="87312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62" name="Freeform 222">
              <a:extLst>
                <a:ext uri="{FF2B5EF4-FFF2-40B4-BE49-F238E27FC236}">
                  <a16:creationId xmlns:a16="http://schemas.microsoft.com/office/drawing/2014/main" xmlns="" id="{C5F9479C-FC97-4E02-8EEA-15BD4DEDCAC5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817688" y="3209925"/>
              <a:ext cx="125412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63" name="Freeform 223">
              <a:extLst>
                <a:ext uri="{FF2B5EF4-FFF2-40B4-BE49-F238E27FC236}">
                  <a16:creationId xmlns:a16="http://schemas.microsoft.com/office/drawing/2014/main" xmlns="" id="{989B123C-5EDE-45B2-ACC6-2FB22E49DB68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868488" y="3322638"/>
              <a:ext cx="84137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64" name="Freeform 224">
              <a:extLst>
                <a:ext uri="{FF2B5EF4-FFF2-40B4-BE49-F238E27FC236}">
                  <a16:creationId xmlns:a16="http://schemas.microsoft.com/office/drawing/2014/main" xmlns="" id="{CBC8F467-523F-4BB1-A21B-6E556C2EB8DF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949450" y="3376613"/>
              <a:ext cx="142875" cy="79375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65" name="Freeform 225">
              <a:extLst>
                <a:ext uri="{FF2B5EF4-FFF2-40B4-BE49-F238E27FC236}">
                  <a16:creationId xmlns:a16="http://schemas.microsoft.com/office/drawing/2014/main" xmlns="" id="{92625ADE-A175-44EE-9C22-06DE5069FAD1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630488" y="4630738"/>
              <a:ext cx="133350" cy="15557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66" name="Freeform 226">
              <a:extLst>
                <a:ext uri="{FF2B5EF4-FFF2-40B4-BE49-F238E27FC236}">
                  <a16:creationId xmlns:a16="http://schemas.microsoft.com/office/drawing/2014/main" xmlns="" id="{D894A004-65D5-4C1F-A6F3-76463FB07B8A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176713" y="1247775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67" name="Freeform 227">
              <a:extLst>
                <a:ext uri="{FF2B5EF4-FFF2-40B4-BE49-F238E27FC236}">
                  <a16:creationId xmlns:a16="http://schemas.microsoft.com/office/drawing/2014/main" xmlns="" id="{4AEC07AC-ABA7-47E1-AF45-3FFECF3593AA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103688" y="1477963"/>
              <a:ext cx="449262" cy="361950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68" name="Freeform 228">
              <a:extLst>
                <a:ext uri="{FF2B5EF4-FFF2-40B4-BE49-F238E27FC236}">
                  <a16:creationId xmlns:a16="http://schemas.microsoft.com/office/drawing/2014/main" xmlns="" id="{30E19100-C0C3-4CD8-B2DB-112F1D90F455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443413" y="2319338"/>
              <a:ext cx="49212" cy="90487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69" name="Freeform 229">
              <a:extLst>
                <a:ext uri="{FF2B5EF4-FFF2-40B4-BE49-F238E27FC236}">
                  <a16:creationId xmlns:a16="http://schemas.microsoft.com/office/drawing/2014/main" xmlns="" id="{215E5FDE-CE9A-4561-808E-9675AE2C83E3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151313" y="2159000"/>
              <a:ext cx="84137" cy="58738"/>
            </a:xfrm>
            <a:custGeom>
              <a:avLst/>
              <a:gdLst>
                <a:gd name="T0" fmla="*/ 200 w 200"/>
                <a:gd name="T1" fmla="*/ 55 h 98"/>
                <a:gd name="T2" fmla="*/ 195 w 200"/>
                <a:gd name="T3" fmla="*/ 56 h 98"/>
                <a:gd name="T4" fmla="*/ 186 w 200"/>
                <a:gd name="T5" fmla="*/ 60 h 98"/>
                <a:gd name="T6" fmla="*/ 177 w 200"/>
                <a:gd name="T7" fmla="*/ 65 h 98"/>
                <a:gd name="T8" fmla="*/ 166 w 200"/>
                <a:gd name="T9" fmla="*/ 73 h 98"/>
                <a:gd name="T10" fmla="*/ 155 w 200"/>
                <a:gd name="T11" fmla="*/ 80 h 98"/>
                <a:gd name="T12" fmla="*/ 145 w 200"/>
                <a:gd name="T13" fmla="*/ 87 h 98"/>
                <a:gd name="T14" fmla="*/ 137 w 200"/>
                <a:gd name="T15" fmla="*/ 93 h 98"/>
                <a:gd name="T16" fmla="*/ 133 w 200"/>
                <a:gd name="T17" fmla="*/ 98 h 98"/>
                <a:gd name="T18" fmla="*/ 127 w 200"/>
                <a:gd name="T19" fmla="*/ 98 h 98"/>
                <a:gd name="T20" fmla="*/ 122 w 200"/>
                <a:gd name="T21" fmla="*/ 98 h 98"/>
                <a:gd name="T22" fmla="*/ 116 w 200"/>
                <a:gd name="T23" fmla="*/ 97 h 98"/>
                <a:gd name="T24" fmla="*/ 111 w 200"/>
                <a:gd name="T25" fmla="*/ 95 h 98"/>
                <a:gd name="T26" fmla="*/ 106 w 200"/>
                <a:gd name="T27" fmla="*/ 93 h 98"/>
                <a:gd name="T28" fmla="*/ 103 w 200"/>
                <a:gd name="T29" fmla="*/ 88 h 98"/>
                <a:gd name="T30" fmla="*/ 101 w 200"/>
                <a:gd name="T31" fmla="*/ 82 h 98"/>
                <a:gd name="T32" fmla="*/ 100 w 200"/>
                <a:gd name="T33" fmla="*/ 74 h 98"/>
                <a:gd name="T34" fmla="*/ 91 w 200"/>
                <a:gd name="T35" fmla="*/ 80 h 98"/>
                <a:gd name="T36" fmla="*/ 82 w 200"/>
                <a:gd name="T37" fmla="*/ 86 h 98"/>
                <a:gd name="T38" fmla="*/ 78 w 200"/>
                <a:gd name="T39" fmla="*/ 90 h 98"/>
                <a:gd name="T40" fmla="*/ 72 w 200"/>
                <a:gd name="T41" fmla="*/ 93 h 98"/>
                <a:gd name="T42" fmla="*/ 67 w 200"/>
                <a:gd name="T43" fmla="*/ 96 h 98"/>
                <a:gd name="T44" fmla="*/ 60 w 200"/>
                <a:gd name="T45" fmla="*/ 98 h 98"/>
                <a:gd name="T46" fmla="*/ 39 w 200"/>
                <a:gd name="T47" fmla="*/ 98 h 98"/>
                <a:gd name="T48" fmla="*/ 34 w 200"/>
                <a:gd name="T49" fmla="*/ 98 h 98"/>
                <a:gd name="T50" fmla="*/ 28 w 200"/>
                <a:gd name="T51" fmla="*/ 95 h 98"/>
                <a:gd name="T52" fmla="*/ 22 w 200"/>
                <a:gd name="T53" fmla="*/ 92 h 98"/>
                <a:gd name="T54" fmla="*/ 15 w 200"/>
                <a:gd name="T55" fmla="*/ 89 h 98"/>
                <a:gd name="T56" fmla="*/ 9 w 200"/>
                <a:gd name="T57" fmla="*/ 85 h 98"/>
                <a:gd name="T58" fmla="*/ 4 w 200"/>
                <a:gd name="T59" fmla="*/ 81 h 98"/>
                <a:gd name="T60" fmla="*/ 1 w 200"/>
                <a:gd name="T61" fmla="*/ 77 h 98"/>
                <a:gd name="T62" fmla="*/ 0 w 200"/>
                <a:gd name="T63" fmla="*/ 74 h 98"/>
                <a:gd name="T64" fmla="*/ 5 w 200"/>
                <a:gd name="T65" fmla="*/ 71 h 98"/>
                <a:gd name="T66" fmla="*/ 10 w 200"/>
                <a:gd name="T67" fmla="*/ 67 h 98"/>
                <a:gd name="T68" fmla="*/ 14 w 200"/>
                <a:gd name="T69" fmla="*/ 60 h 98"/>
                <a:gd name="T70" fmla="*/ 20 w 200"/>
                <a:gd name="T71" fmla="*/ 53 h 98"/>
                <a:gd name="T72" fmla="*/ 23 w 200"/>
                <a:gd name="T73" fmla="*/ 45 h 98"/>
                <a:gd name="T74" fmla="*/ 27 w 200"/>
                <a:gd name="T75" fmla="*/ 37 h 98"/>
                <a:gd name="T76" fmla="*/ 30 w 200"/>
                <a:gd name="T77" fmla="*/ 28 h 98"/>
                <a:gd name="T78" fmla="*/ 33 w 200"/>
                <a:gd name="T79" fmla="*/ 19 h 98"/>
                <a:gd name="T80" fmla="*/ 66 w 200"/>
                <a:gd name="T81" fmla="*/ 14 h 98"/>
                <a:gd name="T82" fmla="*/ 103 w 200"/>
                <a:gd name="T83" fmla="*/ 9 h 98"/>
                <a:gd name="T84" fmla="*/ 145 w 200"/>
                <a:gd name="T85" fmla="*/ 4 h 98"/>
                <a:gd name="T86" fmla="*/ 193 w 200"/>
                <a:gd name="T87" fmla="*/ 0 h 98"/>
                <a:gd name="T88" fmla="*/ 166 w 200"/>
                <a:gd name="T89" fmla="*/ 31 h 98"/>
                <a:gd name="T90" fmla="*/ 166 w 200"/>
                <a:gd name="T91" fmla="*/ 34 h 98"/>
                <a:gd name="T92" fmla="*/ 164 w 200"/>
                <a:gd name="T93" fmla="*/ 37 h 98"/>
                <a:gd name="T94" fmla="*/ 162 w 200"/>
                <a:gd name="T95" fmla="*/ 39 h 98"/>
                <a:gd name="T96" fmla="*/ 161 w 200"/>
                <a:gd name="T97" fmla="*/ 41 h 98"/>
                <a:gd name="T98" fmla="*/ 157 w 200"/>
                <a:gd name="T99" fmla="*/ 45 h 98"/>
                <a:gd name="T100" fmla="*/ 156 w 200"/>
                <a:gd name="T101" fmla="*/ 47 h 98"/>
                <a:gd name="T102" fmla="*/ 156 w 200"/>
                <a:gd name="T103" fmla="*/ 49 h 98"/>
                <a:gd name="T104" fmla="*/ 157 w 200"/>
                <a:gd name="T105" fmla="*/ 50 h 98"/>
                <a:gd name="T106" fmla="*/ 159 w 200"/>
                <a:gd name="T107" fmla="*/ 50 h 98"/>
                <a:gd name="T108" fmla="*/ 163 w 200"/>
                <a:gd name="T109" fmla="*/ 51 h 98"/>
                <a:gd name="T110" fmla="*/ 177 w 200"/>
                <a:gd name="T111" fmla="*/ 53 h 98"/>
                <a:gd name="T112" fmla="*/ 200 w 200"/>
                <a:gd name="T113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70" name="Freeform 230">
              <a:extLst>
                <a:ext uri="{FF2B5EF4-FFF2-40B4-BE49-F238E27FC236}">
                  <a16:creationId xmlns:a16="http://schemas.microsoft.com/office/drawing/2014/main" xmlns="" id="{9AC6C635-F36F-471C-8405-366718A9669A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089400" y="1978025"/>
              <a:ext cx="84138" cy="73025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71" name="Freeform 231">
              <a:extLst>
                <a:ext uri="{FF2B5EF4-FFF2-40B4-BE49-F238E27FC236}">
                  <a16:creationId xmlns:a16="http://schemas.microsoft.com/office/drawing/2014/main" xmlns="" id="{2DDC9A49-0A32-4453-AAB8-1CA0BA32D0FC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070350" y="2041525"/>
              <a:ext cx="84138" cy="57150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72" name="Freeform 232">
              <a:extLst>
                <a:ext uri="{FF2B5EF4-FFF2-40B4-BE49-F238E27FC236}">
                  <a16:creationId xmlns:a16="http://schemas.microsoft.com/office/drawing/2014/main" xmlns="" id="{3C6F040A-B648-4F5E-8783-59FB6E8ED4DF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830763" y="2595563"/>
              <a:ext cx="33337" cy="131762"/>
            </a:xfrm>
            <a:custGeom>
              <a:avLst/>
              <a:gdLst>
                <a:gd name="T0" fmla="*/ 33 w 80"/>
                <a:gd name="T1" fmla="*/ 0 h 254"/>
                <a:gd name="T2" fmla="*/ 37 w 80"/>
                <a:gd name="T3" fmla="*/ 2 h 254"/>
                <a:gd name="T4" fmla="*/ 40 w 80"/>
                <a:gd name="T5" fmla="*/ 4 h 254"/>
                <a:gd name="T6" fmla="*/ 43 w 80"/>
                <a:gd name="T7" fmla="*/ 7 h 254"/>
                <a:gd name="T8" fmla="*/ 46 w 80"/>
                <a:gd name="T9" fmla="*/ 10 h 254"/>
                <a:gd name="T10" fmla="*/ 52 w 80"/>
                <a:gd name="T11" fmla="*/ 18 h 254"/>
                <a:gd name="T12" fmla="*/ 56 w 80"/>
                <a:gd name="T13" fmla="*/ 25 h 254"/>
                <a:gd name="T14" fmla="*/ 62 w 80"/>
                <a:gd name="T15" fmla="*/ 32 h 254"/>
                <a:gd name="T16" fmla="*/ 67 w 80"/>
                <a:gd name="T17" fmla="*/ 38 h 254"/>
                <a:gd name="T18" fmla="*/ 70 w 80"/>
                <a:gd name="T19" fmla="*/ 40 h 254"/>
                <a:gd name="T20" fmla="*/ 73 w 80"/>
                <a:gd name="T21" fmla="*/ 42 h 254"/>
                <a:gd name="T22" fmla="*/ 76 w 80"/>
                <a:gd name="T23" fmla="*/ 43 h 254"/>
                <a:gd name="T24" fmla="*/ 80 w 80"/>
                <a:gd name="T25" fmla="*/ 44 h 254"/>
                <a:gd name="T26" fmla="*/ 80 w 80"/>
                <a:gd name="T27" fmla="*/ 53 h 254"/>
                <a:gd name="T28" fmla="*/ 80 w 80"/>
                <a:gd name="T29" fmla="*/ 62 h 254"/>
                <a:gd name="T30" fmla="*/ 53 w 80"/>
                <a:gd name="T31" fmla="*/ 254 h 254"/>
                <a:gd name="T32" fmla="*/ 0 w 80"/>
                <a:gd name="T33" fmla="*/ 93 h 254"/>
                <a:gd name="T34" fmla="*/ 4 w 80"/>
                <a:gd name="T35" fmla="*/ 88 h 254"/>
                <a:gd name="T36" fmla="*/ 11 w 80"/>
                <a:gd name="T37" fmla="*/ 71 h 254"/>
                <a:gd name="T38" fmla="*/ 17 w 80"/>
                <a:gd name="T39" fmla="*/ 57 h 254"/>
                <a:gd name="T40" fmla="*/ 22 w 80"/>
                <a:gd name="T41" fmla="*/ 41 h 254"/>
                <a:gd name="T42" fmla="*/ 28 w 80"/>
                <a:gd name="T43" fmla="*/ 23 h 254"/>
                <a:gd name="T44" fmla="*/ 33 w 80"/>
                <a:gd name="T45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73" name="Freeform 233">
              <a:extLst>
                <a:ext uri="{FF2B5EF4-FFF2-40B4-BE49-F238E27FC236}">
                  <a16:creationId xmlns:a16="http://schemas.microsoft.com/office/drawing/2014/main" xmlns="" id="{30AAB883-F3CC-47D8-B952-516081283D3E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779963" y="2647950"/>
              <a:ext cx="69850" cy="130175"/>
            </a:xfrm>
            <a:custGeom>
              <a:avLst/>
              <a:gdLst>
                <a:gd name="T0" fmla="*/ 114 w 167"/>
                <a:gd name="T1" fmla="*/ 0 h 259"/>
                <a:gd name="T2" fmla="*/ 167 w 167"/>
                <a:gd name="T3" fmla="*/ 155 h 259"/>
                <a:gd name="T4" fmla="*/ 121 w 167"/>
                <a:gd name="T5" fmla="*/ 259 h 259"/>
                <a:gd name="T6" fmla="*/ 113 w 167"/>
                <a:gd name="T7" fmla="*/ 259 h 259"/>
                <a:gd name="T8" fmla="*/ 107 w 167"/>
                <a:gd name="T9" fmla="*/ 257 h 259"/>
                <a:gd name="T10" fmla="*/ 100 w 167"/>
                <a:gd name="T11" fmla="*/ 254 h 259"/>
                <a:gd name="T12" fmla="*/ 95 w 167"/>
                <a:gd name="T13" fmla="*/ 251 h 259"/>
                <a:gd name="T14" fmla="*/ 89 w 167"/>
                <a:gd name="T15" fmla="*/ 245 h 259"/>
                <a:gd name="T16" fmla="*/ 85 w 167"/>
                <a:gd name="T17" fmla="*/ 240 h 259"/>
                <a:gd name="T18" fmla="*/ 80 w 167"/>
                <a:gd name="T19" fmla="*/ 235 h 259"/>
                <a:gd name="T20" fmla="*/ 76 w 167"/>
                <a:gd name="T21" fmla="*/ 229 h 259"/>
                <a:gd name="T22" fmla="*/ 69 w 167"/>
                <a:gd name="T23" fmla="*/ 217 h 259"/>
                <a:gd name="T24" fmla="*/ 65 w 167"/>
                <a:gd name="T25" fmla="*/ 205 h 259"/>
                <a:gd name="T26" fmla="*/ 62 w 167"/>
                <a:gd name="T27" fmla="*/ 194 h 259"/>
                <a:gd name="T28" fmla="*/ 62 w 167"/>
                <a:gd name="T29" fmla="*/ 185 h 259"/>
                <a:gd name="T30" fmla="*/ 55 w 167"/>
                <a:gd name="T31" fmla="*/ 184 h 259"/>
                <a:gd name="T32" fmla="*/ 51 w 167"/>
                <a:gd name="T33" fmla="*/ 183 h 259"/>
                <a:gd name="T34" fmla="*/ 45 w 167"/>
                <a:gd name="T35" fmla="*/ 182 h 259"/>
                <a:gd name="T36" fmla="*/ 42 w 167"/>
                <a:gd name="T37" fmla="*/ 180 h 259"/>
                <a:gd name="T38" fmla="*/ 39 w 167"/>
                <a:gd name="T39" fmla="*/ 177 h 259"/>
                <a:gd name="T40" fmla="*/ 36 w 167"/>
                <a:gd name="T41" fmla="*/ 174 h 259"/>
                <a:gd name="T42" fmla="*/ 34 w 167"/>
                <a:gd name="T43" fmla="*/ 170 h 259"/>
                <a:gd name="T44" fmla="*/ 32 w 167"/>
                <a:gd name="T45" fmla="*/ 167 h 259"/>
                <a:gd name="T46" fmla="*/ 30 w 167"/>
                <a:gd name="T47" fmla="*/ 158 h 259"/>
                <a:gd name="T48" fmla="*/ 29 w 167"/>
                <a:gd name="T49" fmla="*/ 149 h 259"/>
                <a:gd name="T50" fmla="*/ 28 w 167"/>
                <a:gd name="T51" fmla="*/ 140 h 259"/>
                <a:gd name="T52" fmla="*/ 28 w 167"/>
                <a:gd name="T53" fmla="*/ 129 h 259"/>
                <a:gd name="T54" fmla="*/ 21 w 167"/>
                <a:gd name="T55" fmla="*/ 129 h 259"/>
                <a:gd name="T56" fmla="*/ 16 w 167"/>
                <a:gd name="T57" fmla="*/ 127 h 259"/>
                <a:gd name="T58" fmla="*/ 11 w 167"/>
                <a:gd name="T59" fmla="*/ 125 h 259"/>
                <a:gd name="T60" fmla="*/ 7 w 167"/>
                <a:gd name="T61" fmla="*/ 121 h 259"/>
                <a:gd name="T62" fmla="*/ 5 w 167"/>
                <a:gd name="T63" fmla="*/ 117 h 259"/>
                <a:gd name="T64" fmla="*/ 2 w 167"/>
                <a:gd name="T65" fmla="*/ 112 h 259"/>
                <a:gd name="T66" fmla="*/ 0 w 167"/>
                <a:gd name="T67" fmla="*/ 107 h 259"/>
                <a:gd name="T68" fmla="*/ 0 w 167"/>
                <a:gd name="T69" fmla="*/ 101 h 259"/>
                <a:gd name="T70" fmla="*/ 0 w 167"/>
                <a:gd name="T71" fmla="*/ 75 h 259"/>
                <a:gd name="T72" fmla="*/ 1 w 167"/>
                <a:gd name="T73" fmla="*/ 50 h 259"/>
                <a:gd name="T74" fmla="*/ 12 w 167"/>
                <a:gd name="T75" fmla="*/ 52 h 259"/>
                <a:gd name="T76" fmla="*/ 22 w 167"/>
                <a:gd name="T77" fmla="*/ 53 h 259"/>
                <a:gd name="T78" fmla="*/ 32 w 167"/>
                <a:gd name="T79" fmla="*/ 53 h 259"/>
                <a:gd name="T80" fmla="*/ 42 w 167"/>
                <a:gd name="T81" fmla="*/ 52 h 259"/>
                <a:gd name="T82" fmla="*/ 50 w 167"/>
                <a:gd name="T83" fmla="*/ 51 h 259"/>
                <a:gd name="T84" fmla="*/ 58 w 167"/>
                <a:gd name="T85" fmla="*/ 49 h 259"/>
                <a:gd name="T86" fmla="*/ 66 w 167"/>
                <a:gd name="T87" fmla="*/ 47 h 259"/>
                <a:gd name="T88" fmla="*/ 73 w 167"/>
                <a:gd name="T89" fmla="*/ 44 h 259"/>
                <a:gd name="T90" fmla="*/ 79 w 167"/>
                <a:gd name="T91" fmla="*/ 40 h 259"/>
                <a:gd name="T92" fmla="*/ 86 w 167"/>
                <a:gd name="T93" fmla="*/ 36 h 259"/>
                <a:gd name="T94" fmla="*/ 91 w 167"/>
                <a:gd name="T95" fmla="*/ 31 h 259"/>
                <a:gd name="T96" fmla="*/ 97 w 167"/>
                <a:gd name="T97" fmla="*/ 26 h 259"/>
                <a:gd name="T98" fmla="*/ 107 w 167"/>
                <a:gd name="T99" fmla="*/ 13 h 259"/>
                <a:gd name="T100" fmla="*/ 114 w 167"/>
                <a:gd name="T10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74" name="Freeform 234">
              <a:extLst>
                <a:ext uri="{FF2B5EF4-FFF2-40B4-BE49-F238E27FC236}">
                  <a16:creationId xmlns:a16="http://schemas.microsoft.com/office/drawing/2014/main" xmlns="" id="{C4696E52-0FD9-464A-B4CB-926F64045F4F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781425" y="1901825"/>
              <a:ext cx="96838" cy="144463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75" name="Freeform 235">
              <a:extLst>
                <a:ext uri="{FF2B5EF4-FFF2-40B4-BE49-F238E27FC236}">
                  <a16:creationId xmlns:a16="http://schemas.microsoft.com/office/drawing/2014/main" xmlns="" id="{1B5A5E31-4658-4C7B-B313-AE4BB4F4F82E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594100" y="2813050"/>
              <a:ext cx="306388" cy="390525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76" name="Freeform 236">
              <a:extLst>
                <a:ext uri="{FF2B5EF4-FFF2-40B4-BE49-F238E27FC236}">
                  <a16:creationId xmlns:a16="http://schemas.microsoft.com/office/drawing/2014/main" xmlns="" id="{5A1F1982-D2DE-4AD5-8C98-D3FD1AA8126E}"/>
                </a:ext>
              </a:extLst>
            </p:cNvPr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709988" y="2873375"/>
              <a:ext cx="414337" cy="468313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77" name="Freeform 237">
              <a:extLst>
                <a:ext uri="{FF2B5EF4-FFF2-40B4-BE49-F238E27FC236}">
                  <a16:creationId xmlns:a16="http://schemas.microsoft.com/office/drawing/2014/main" xmlns="" id="{8E31A382-0236-45D2-85AE-DBD2042CE767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808413" y="2479675"/>
              <a:ext cx="493712" cy="579438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78" name="Freeform 238">
              <a:extLst>
                <a:ext uri="{FF2B5EF4-FFF2-40B4-BE49-F238E27FC236}">
                  <a16:creationId xmlns:a16="http://schemas.microsoft.com/office/drawing/2014/main" xmlns="" id="{A94C1976-F9CC-4174-96C7-ED803E839A4A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244975" y="2614613"/>
              <a:ext cx="384175" cy="436562"/>
            </a:xfrm>
            <a:custGeom>
              <a:avLst/>
              <a:gdLst>
                <a:gd name="T0" fmla="*/ 36 w 877"/>
                <a:gd name="T1" fmla="*/ 141 h 826"/>
                <a:gd name="T2" fmla="*/ 46 w 877"/>
                <a:gd name="T3" fmla="*/ 109 h 826"/>
                <a:gd name="T4" fmla="*/ 46 w 877"/>
                <a:gd name="T5" fmla="*/ 70 h 826"/>
                <a:gd name="T6" fmla="*/ 61 w 877"/>
                <a:gd name="T7" fmla="*/ 64 h 826"/>
                <a:gd name="T8" fmla="*/ 89 w 877"/>
                <a:gd name="T9" fmla="*/ 55 h 826"/>
                <a:gd name="T10" fmla="*/ 99 w 877"/>
                <a:gd name="T11" fmla="*/ 20 h 826"/>
                <a:gd name="T12" fmla="*/ 168 w 877"/>
                <a:gd name="T13" fmla="*/ 6 h 826"/>
                <a:gd name="T14" fmla="*/ 242 w 877"/>
                <a:gd name="T15" fmla="*/ 24 h 826"/>
                <a:gd name="T16" fmla="*/ 273 w 877"/>
                <a:gd name="T17" fmla="*/ 43 h 826"/>
                <a:gd name="T18" fmla="*/ 285 w 877"/>
                <a:gd name="T19" fmla="*/ 78 h 826"/>
                <a:gd name="T20" fmla="*/ 295 w 877"/>
                <a:gd name="T21" fmla="*/ 101 h 826"/>
                <a:gd name="T22" fmla="*/ 325 w 877"/>
                <a:gd name="T23" fmla="*/ 110 h 826"/>
                <a:gd name="T24" fmla="*/ 363 w 877"/>
                <a:gd name="T25" fmla="*/ 109 h 826"/>
                <a:gd name="T26" fmla="*/ 421 w 877"/>
                <a:gd name="T27" fmla="*/ 133 h 826"/>
                <a:gd name="T28" fmla="*/ 478 w 877"/>
                <a:gd name="T29" fmla="*/ 162 h 826"/>
                <a:gd name="T30" fmla="*/ 513 w 877"/>
                <a:gd name="T31" fmla="*/ 166 h 826"/>
                <a:gd name="T32" fmla="*/ 538 w 877"/>
                <a:gd name="T33" fmla="*/ 158 h 826"/>
                <a:gd name="T34" fmla="*/ 549 w 877"/>
                <a:gd name="T35" fmla="*/ 126 h 826"/>
                <a:gd name="T36" fmla="*/ 544 w 877"/>
                <a:gd name="T37" fmla="*/ 103 h 826"/>
                <a:gd name="T38" fmla="*/ 531 w 877"/>
                <a:gd name="T39" fmla="*/ 81 h 826"/>
                <a:gd name="T40" fmla="*/ 539 w 877"/>
                <a:gd name="T41" fmla="*/ 49 h 826"/>
                <a:gd name="T42" fmla="*/ 574 w 877"/>
                <a:gd name="T43" fmla="*/ 34 h 826"/>
                <a:gd name="T44" fmla="*/ 617 w 877"/>
                <a:gd name="T45" fmla="*/ 4 h 826"/>
                <a:gd name="T46" fmla="*/ 650 w 877"/>
                <a:gd name="T47" fmla="*/ 0 h 826"/>
                <a:gd name="T48" fmla="*/ 681 w 877"/>
                <a:gd name="T49" fmla="*/ 6 h 826"/>
                <a:gd name="T50" fmla="*/ 695 w 877"/>
                <a:gd name="T51" fmla="*/ 24 h 826"/>
                <a:gd name="T52" fmla="*/ 706 w 877"/>
                <a:gd name="T53" fmla="*/ 50 h 826"/>
                <a:gd name="T54" fmla="*/ 728 w 877"/>
                <a:gd name="T55" fmla="*/ 63 h 826"/>
                <a:gd name="T56" fmla="*/ 798 w 877"/>
                <a:gd name="T57" fmla="*/ 71 h 826"/>
                <a:gd name="T58" fmla="*/ 830 w 877"/>
                <a:gd name="T59" fmla="*/ 97 h 826"/>
                <a:gd name="T60" fmla="*/ 834 w 877"/>
                <a:gd name="T61" fmla="*/ 117 h 826"/>
                <a:gd name="T62" fmla="*/ 843 w 877"/>
                <a:gd name="T63" fmla="*/ 140 h 826"/>
                <a:gd name="T64" fmla="*/ 836 w 877"/>
                <a:gd name="T65" fmla="*/ 159 h 826"/>
                <a:gd name="T66" fmla="*/ 824 w 877"/>
                <a:gd name="T67" fmla="*/ 170 h 826"/>
                <a:gd name="T68" fmla="*/ 829 w 877"/>
                <a:gd name="T69" fmla="*/ 207 h 826"/>
                <a:gd name="T70" fmla="*/ 858 w 877"/>
                <a:gd name="T71" fmla="*/ 245 h 826"/>
                <a:gd name="T72" fmla="*/ 876 w 877"/>
                <a:gd name="T73" fmla="*/ 687 h 826"/>
                <a:gd name="T74" fmla="*/ 877 w 877"/>
                <a:gd name="T75" fmla="*/ 741 h 826"/>
                <a:gd name="T76" fmla="*/ 870 w 877"/>
                <a:gd name="T77" fmla="*/ 775 h 826"/>
                <a:gd name="T78" fmla="*/ 848 w 877"/>
                <a:gd name="T79" fmla="*/ 783 h 826"/>
                <a:gd name="T80" fmla="*/ 830 w 877"/>
                <a:gd name="T81" fmla="*/ 804 h 826"/>
                <a:gd name="T82" fmla="*/ 366 w 877"/>
                <a:gd name="T83" fmla="*/ 593 h 826"/>
                <a:gd name="T84" fmla="*/ 331 w 877"/>
                <a:gd name="T85" fmla="*/ 607 h 826"/>
                <a:gd name="T86" fmla="*/ 292 w 877"/>
                <a:gd name="T87" fmla="*/ 626 h 826"/>
                <a:gd name="T88" fmla="*/ 263 w 877"/>
                <a:gd name="T89" fmla="*/ 627 h 826"/>
                <a:gd name="T90" fmla="*/ 230 w 877"/>
                <a:gd name="T91" fmla="*/ 609 h 826"/>
                <a:gd name="T92" fmla="*/ 193 w 877"/>
                <a:gd name="T93" fmla="*/ 586 h 826"/>
                <a:gd name="T94" fmla="*/ 152 w 877"/>
                <a:gd name="T95" fmla="*/ 578 h 826"/>
                <a:gd name="T96" fmla="*/ 138 w 877"/>
                <a:gd name="T97" fmla="*/ 577 h 826"/>
                <a:gd name="T98" fmla="*/ 130 w 877"/>
                <a:gd name="T99" fmla="*/ 553 h 826"/>
                <a:gd name="T100" fmla="*/ 109 w 877"/>
                <a:gd name="T101" fmla="*/ 535 h 826"/>
                <a:gd name="T102" fmla="*/ 63 w 877"/>
                <a:gd name="T103" fmla="*/ 517 h 826"/>
                <a:gd name="T104" fmla="*/ 28 w 877"/>
                <a:gd name="T105" fmla="*/ 499 h 826"/>
                <a:gd name="T106" fmla="*/ 16 w 877"/>
                <a:gd name="T107" fmla="*/ 482 h 826"/>
                <a:gd name="T108" fmla="*/ 14 w 877"/>
                <a:gd name="T109" fmla="*/ 439 h 826"/>
                <a:gd name="T110" fmla="*/ 19 w 877"/>
                <a:gd name="T111" fmla="*/ 352 h 826"/>
                <a:gd name="T112" fmla="*/ 17 w 877"/>
                <a:gd name="T113" fmla="*/ 258 h 826"/>
                <a:gd name="T114" fmla="*/ 4 w 877"/>
                <a:gd name="T115" fmla="*/ 202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79" name="Freeform 239">
              <a:extLst>
                <a:ext uri="{FF2B5EF4-FFF2-40B4-BE49-F238E27FC236}">
                  <a16:creationId xmlns:a16="http://schemas.microsoft.com/office/drawing/2014/main" xmlns="" id="{6D3317EC-CE6D-40E3-B48A-99967B6830EC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197350" y="2479675"/>
              <a:ext cx="93663" cy="236538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80" name="Freeform 240">
              <a:extLst>
                <a:ext uri="{FF2B5EF4-FFF2-40B4-BE49-F238E27FC236}">
                  <a16:creationId xmlns:a16="http://schemas.microsoft.com/office/drawing/2014/main" xmlns="" id="{7D981024-CEBD-46CB-BA2F-80A40EC5004D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579813" y="2790825"/>
              <a:ext cx="231775" cy="215900"/>
            </a:xfrm>
            <a:custGeom>
              <a:avLst/>
              <a:gdLst>
                <a:gd name="T0" fmla="*/ 326 w 518"/>
                <a:gd name="T1" fmla="*/ 110 h 406"/>
                <a:gd name="T2" fmla="*/ 326 w 518"/>
                <a:gd name="T3" fmla="*/ 259 h 406"/>
                <a:gd name="T4" fmla="*/ 315 w 518"/>
                <a:gd name="T5" fmla="*/ 264 h 406"/>
                <a:gd name="T6" fmla="*/ 291 w 518"/>
                <a:gd name="T7" fmla="*/ 271 h 406"/>
                <a:gd name="T8" fmla="*/ 246 w 518"/>
                <a:gd name="T9" fmla="*/ 283 h 406"/>
                <a:gd name="T10" fmla="*/ 253 w 518"/>
                <a:gd name="T11" fmla="*/ 302 h 406"/>
                <a:gd name="T12" fmla="*/ 265 w 518"/>
                <a:gd name="T13" fmla="*/ 326 h 406"/>
                <a:gd name="T14" fmla="*/ 269 w 518"/>
                <a:gd name="T15" fmla="*/ 353 h 406"/>
                <a:gd name="T16" fmla="*/ 272 w 518"/>
                <a:gd name="T17" fmla="*/ 382 h 406"/>
                <a:gd name="T18" fmla="*/ 52 w 518"/>
                <a:gd name="T19" fmla="*/ 394 h 406"/>
                <a:gd name="T20" fmla="*/ 22 w 518"/>
                <a:gd name="T21" fmla="*/ 406 h 406"/>
                <a:gd name="T22" fmla="*/ 5 w 518"/>
                <a:gd name="T23" fmla="*/ 403 h 406"/>
                <a:gd name="T24" fmla="*/ 1 w 518"/>
                <a:gd name="T25" fmla="*/ 398 h 406"/>
                <a:gd name="T26" fmla="*/ 1 w 518"/>
                <a:gd name="T27" fmla="*/ 385 h 406"/>
                <a:gd name="T28" fmla="*/ 4 w 518"/>
                <a:gd name="T29" fmla="*/ 371 h 406"/>
                <a:gd name="T30" fmla="*/ 11 w 518"/>
                <a:gd name="T31" fmla="*/ 354 h 406"/>
                <a:gd name="T32" fmla="*/ 20 w 518"/>
                <a:gd name="T33" fmla="*/ 341 h 406"/>
                <a:gd name="T34" fmla="*/ 30 w 518"/>
                <a:gd name="T35" fmla="*/ 334 h 406"/>
                <a:gd name="T36" fmla="*/ 38 w 518"/>
                <a:gd name="T37" fmla="*/ 326 h 406"/>
                <a:gd name="T38" fmla="*/ 44 w 518"/>
                <a:gd name="T39" fmla="*/ 317 h 406"/>
                <a:gd name="T40" fmla="*/ 49 w 518"/>
                <a:gd name="T41" fmla="*/ 292 h 406"/>
                <a:gd name="T42" fmla="*/ 56 w 518"/>
                <a:gd name="T43" fmla="*/ 265 h 406"/>
                <a:gd name="T44" fmla="*/ 62 w 518"/>
                <a:gd name="T45" fmla="*/ 257 h 406"/>
                <a:gd name="T46" fmla="*/ 74 w 518"/>
                <a:gd name="T47" fmla="*/ 246 h 406"/>
                <a:gd name="T48" fmla="*/ 92 w 518"/>
                <a:gd name="T49" fmla="*/ 238 h 406"/>
                <a:gd name="T50" fmla="*/ 107 w 518"/>
                <a:gd name="T51" fmla="*/ 231 h 406"/>
                <a:gd name="T52" fmla="*/ 122 w 518"/>
                <a:gd name="T53" fmla="*/ 218 h 406"/>
                <a:gd name="T54" fmla="*/ 136 w 518"/>
                <a:gd name="T55" fmla="*/ 195 h 406"/>
                <a:gd name="T56" fmla="*/ 150 w 518"/>
                <a:gd name="T57" fmla="*/ 156 h 406"/>
                <a:gd name="T58" fmla="*/ 162 w 518"/>
                <a:gd name="T59" fmla="*/ 117 h 406"/>
                <a:gd name="T60" fmla="*/ 172 w 518"/>
                <a:gd name="T61" fmla="*/ 94 h 406"/>
                <a:gd name="T62" fmla="*/ 186 w 518"/>
                <a:gd name="T63" fmla="*/ 73 h 406"/>
                <a:gd name="T64" fmla="*/ 201 w 518"/>
                <a:gd name="T65" fmla="*/ 62 h 406"/>
                <a:gd name="T66" fmla="*/ 213 w 518"/>
                <a:gd name="T67" fmla="*/ 57 h 406"/>
                <a:gd name="T68" fmla="*/ 219 w 518"/>
                <a:gd name="T69" fmla="*/ 44 h 406"/>
                <a:gd name="T70" fmla="*/ 223 w 518"/>
                <a:gd name="T71" fmla="*/ 28 h 406"/>
                <a:gd name="T72" fmla="*/ 228 w 518"/>
                <a:gd name="T73" fmla="*/ 16 h 406"/>
                <a:gd name="T74" fmla="*/ 239 w 518"/>
                <a:gd name="T75" fmla="*/ 8 h 406"/>
                <a:gd name="T76" fmla="*/ 511 w 518"/>
                <a:gd name="T77" fmla="*/ 0 h 406"/>
                <a:gd name="T78" fmla="*/ 515 w 518"/>
                <a:gd name="T79" fmla="*/ 46 h 406"/>
                <a:gd name="T80" fmla="*/ 518 w 518"/>
                <a:gd name="T81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81" name="Freeform 241">
              <a:extLst>
                <a:ext uri="{FF2B5EF4-FFF2-40B4-BE49-F238E27FC236}">
                  <a16:creationId xmlns:a16="http://schemas.microsoft.com/office/drawing/2014/main" xmlns="" id="{82A4D875-C9E5-4CD7-809E-F24D9F5F78C9}"/>
                </a:ext>
              </a:extLst>
            </p:cNvPr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548063" y="1598613"/>
              <a:ext cx="190500" cy="93662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82" name="Freeform 242">
              <a:extLst>
                <a:ext uri="{FF2B5EF4-FFF2-40B4-BE49-F238E27FC236}">
                  <a16:creationId xmlns:a16="http://schemas.microsoft.com/office/drawing/2014/main" xmlns="" id="{FF16A578-1A2E-4D7C-8ECB-F67A86E63821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340225" y="1862138"/>
              <a:ext cx="14288" cy="57150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83" name="Freeform 243">
              <a:extLst>
                <a:ext uri="{FF2B5EF4-FFF2-40B4-BE49-F238E27FC236}">
                  <a16:creationId xmlns:a16="http://schemas.microsoft.com/office/drawing/2014/main" xmlns="" id="{C429EF55-047A-4E85-8074-B07214298398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227513" y="1525588"/>
              <a:ext cx="234950" cy="395287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84" name="Freeform 244">
              <a:extLst>
                <a:ext uri="{FF2B5EF4-FFF2-40B4-BE49-F238E27FC236}">
                  <a16:creationId xmlns:a16="http://schemas.microsoft.com/office/drawing/2014/main" xmlns="" id="{55739D7D-AE1C-40D9-B9D5-3FBEE16B1B3F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365625" y="1839913"/>
              <a:ext cx="26988" cy="57150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85" name="Freeform 245">
              <a:extLst>
                <a:ext uri="{FF2B5EF4-FFF2-40B4-BE49-F238E27FC236}">
                  <a16:creationId xmlns:a16="http://schemas.microsoft.com/office/drawing/2014/main" xmlns="" id="{5B843CA9-E02E-4479-B49C-6EF301A6E412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810000" y="2001838"/>
              <a:ext cx="28575" cy="57150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86" name="Freeform 246">
              <a:extLst>
                <a:ext uri="{FF2B5EF4-FFF2-40B4-BE49-F238E27FC236}">
                  <a16:creationId xmlns:a16="http://schemas.microsoft.com/office/drawing/2014/main" xmlns="" id="{8B3ECEB7-731F-44B4-9D4B-BEE022267034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762500" y="2530475"/>
              <a:ext cx="50800" cy="57150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87" name="Freeform 247">
              <a:extLst>
                <a:ext uri="{FF2B5EF4-FFF2-40B4-BE49-F238E27FC236}">
                  <a16:creationId xmlns:a16="http://schemas.microsoft.com/office/drawing/2014/main" xmlns="" id="{79929E2C-0510-4A8C-A55D-86B03B9CB3B5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370388" y="3322638"/>
              <a:ext cx="325437" cy="244475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88" name="Freeform 248">
              <a:extLst>
                <a:ext uri="{FF2B5EF4-FFF2-40B4-BE49-F238E27FC236}">
                  <a16:creationId xmlns:a16="http://schemas.microsoft.com/office/drawing/2014/main" xmlns="" id="{B084D468-C26A-4283-BA5E-E6C277668395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306888" y="3490913"/>
              <a:ext cx="500062" cy="552450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89" name="Freeform 249">
              <a:extLst>
                <a:ext uri="{FF2B5EF4-FFF2-40B4-BE49-F238E27FC236}">
                  <a16:creationId xmlns:a16="http://schemas.microsoft.com/office/drawing/2014/main" xmlns="" id="{FE1F4A0C-47AE-4E38-93AB-078039411433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243388" y="3590925"/>
              <a:ext cx="55562" cy="55563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90" name="Freeform 250">
              <a:extLst>
                <a:ext uri="{FF2B5EF4-FFF2-40B4-BE49-F238E27FC236}">
                  <a16:creationId xmlns:a16="http://schemas.microsoft.com/office/drawing/2014/main" xmlns="" id="{ACE9FCE0-3CE7-4076-88E9-A3078F063CCC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225925" y="3590925"/>
              <a:ext cx="152400" cy="201613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91" name="Freeform 251">
              <a:extLst>
                <a:ext uri="{FF2B5EF4-FFF2-40B4-BE49-F238E27FC236}">
                  <a16:creationId xmlns:a16="http://schemas.microsoft.com/office/drawing/2014/main" xmlns="" id="{B744E0B4-15DA-4E5C-9085-48E02DE9C4E9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759325" y="3995738"/>
              <a:ext cx="260350" cy="520700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92" name="Freeform 252">
              <a:extLst>
                <a:ext uri="{FF2B5EF4-FFF2-40B4-BE49-F238E27FC236}">
                  <a16:creationId xmlns:a16="http://schemas.microsoft.com/office/drawing/2014/main" xmlns="" id="{A4E80A2F-3060-4B92-8F63-32D554B84384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4494213" y="4235450"/>
              <a:ext cx="238125" cy="287338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93" name="Freeform 253">
              <a:extLst>
                <a:ext uri="{FF2B5EF4-FFF2-40B4-BE49-F238E27FC236}">
                  <a16:creationId xmlns:a16="http://schemas.microsoft.com/office/drawing/2014/main" xmlns="" id="{6B0BDFAD-E7FC-4C55-AD14-266F6FEA4196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5067300" y="4037013"/>
              <a:ext cx="196850" cy="434975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94" name="Freeform 254">
              <a:extLst>
                <a:ext uri="{FF2B5EF4-FFF2-40B4-BE49-F238E27FC236}">
                  <a16:creationId xmlns:a16="http://schemas.microsoft.com/office/drawing/2014/main" xmlns="" id="{6ABB2308-9648-4EDA-B9FC-8A91C43C97B9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743450" y="3735388"/>
              <a:ext cx="36513" cy="6667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95" name="Freeform 255">
              <a:extLst>
                <a:ext uri="{FF2B5EF4-FFF2-40B4-BE49-F238E27FC236}">
                  <a16:creationId xmlns:a16="http://schemas.microsoft.com/office/drawing/2014/main" xmlns="" id="{08DDF7AD-4EEC-46C3-8F4E-3F580D939456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732338" y="3695700"/>
              <a:ext cx="55562" cy="60325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96" name="Freeform 256">
              <a:extLst>
                <a:ext uri="{FF2B5EF4-FFF2-40B4-BE49-F238E27FC236}">
                  <a16:creationId xmlns:a16="http://schemas.microsoft.com/office/drawing/2014/main" xmlns="" id="{BE3C41E6-3FBD-477C-974F-402C530AD5EE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041900" y="2395538"/>
              <a:ext cx="503238" cy="473075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97" name="Freeform 257">
              <a:extLst>
                <a:ext uri="{FF2B5EF4-FFF2-40B4-BE49-F238E27FC236}">
                  <a16:creationId xmlns:a16="http://schemas.microsoft.com/office/drawing/2014/main" xmlns="" id="{980CA2E6-A9DC-4C50-8C1A-0F476C0F568D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065713" y="3052763"/>
              <a:ext cx="247650" cy="228600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98" name="Freeform 258">
              <a:extLst>
                <a:ext uri="{FF2B5EF4-FFF2-40B4-BE49-F238E27FC236}">
                  <a16:creationId xmlns:a16="http://schemas.microsoft.com/office/drawing/2014/main" xmlns="" id="{EC6AB06C-C386-427C-AE47-7A6476889B8E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260975" y="2827338"/>
              <a:ext cx="120650" cy="120650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199" name="Freeform 259">
              <a:extLst>
                <a:ext uri="{FF2B5EF4-FFF2-40B4-BE49-F238E27FC236}">
                  <a16:creationId xmlns:a16="http://schemas.microsoft.com/office/drawing/2014/main" xmlns="" id="{CCF4BAA3-7615-4AB6-8351-57C5B053EF01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4948238" y="2479675"/>
              <a:ext cx="222250" cy="263525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00" name="Freeform 260">
              <a:extLst>
                <a:ext uri="{FF2B5EF4-FFF2-40B4-BE49-F238E27FC236}">
                  <a16:creationId xmlns:a16="http://schemas.microsoft.com/office/drawing/2014/main" xmlns="" id="{8045FF1C-2AD6-4FE7-AD6A-3E8F718C70A7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448300" y="2439988"/>
              <a:ext cx="331788" cy="290512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01" name="Freeform 261">
              <a:extLst>
                <a:ext uri="{FF2B5EF4-FFF2-40B4-BE49-F238E27FC236}">
                  <a16:creationId xmlns:a16="http://schemas.microsoft.com/office/drawing/2014/main" xmlns="" id="{1FE6552F-C030-4714-B26F-E63156F7E055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480050" y="2489200"/>
              <a:ext cx="365125" cy="423863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02" name="Freeform 262">
              <a:extLst>
                <a:ext uri="{FF2B5EF4-FFF2-40B4-BE49-F238E27FC236}">
                  <a16:creationId xmlns:a16="http://schemas.microsoft.com/office/drawing/2014/main" xmlns="" id="{A33FC7DD-5B00-423B-817E-842511E15252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6270625" y="2757488"/>
              <a:ext cx="220663" cy="585787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03" name="Freeform 263">
              <a:extLst>
                <a:ext uri="{FF2B5EF4-FFF2-40B4-BE49-F238E27FC236}">
                  <a16:creationId xmlns:a16="http://schemas.microsoft.com/office/drawing/2014/main" xmlns="" id="{3DBFA2F6-D3A4-4D2D-AADE-7329E3A7EB11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594100" y="3267075"/>
              <a:ext cx="80963" cy="5873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04" name="Freeform 264">
              <a:extLst>
                <a:ext uri="{FF2B5EF4-FFF2-40B4-BE49-F238E27FC236}">
                  <a16:creationId xmlns:a16="http://schemas.microsoft.com/office/drawing/2014/main" xmlns="" id="{CDAE2EEE-F65F-4F41-8D9E-B3D94955BEEE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678238" y="3349625"/>
              <a:ext cx="74612" cy="100013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05" name="Freeform 265">
              <a:extLst>
                <a:ext uri="{FF2B5EF4-FFF2-40B4-BE49-F238E27FC236}">
                  <a16:creationId xmlns:a16="http://schemas.microsoft.com/office/drawing/2014/main" xmlns="" id="{E9E53462-C5BD-42BC-8C4A-CAE8988C445B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721100" y="3400425"/>
              <a:ext cx="104775" cy="131763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06" name="Freeform 266">
              <a:extLst>
                <a:ext uri="{FF2B5EF4-FFF2-40B4-BE49-F238E27FC236}">
                  <a16:creationId xmlns:a16="http://schemas.microsoft.com/office/drawing/2014/main" xmlns="" id="{995C522B-CC2B-49D4-9C8D-3DCD760CCA62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935413" y="3319463"/>
              <a:ext cx="104775" cy="201612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07" name="Freeform 267">
              <a:extLst>
                <a:ext uri="{FF2B5EF4-FFF2-40B4-BE49-F238E27FC236}">
                  <a16:creationId xmlns:a16="http://schemas.microsoft.com/office/drawing/2014/main" xmlns="" id="{7D342D85-F203-41A3-9ABD-020B91B70549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587750" y="3235325"/>
              <a:ext cx="87313" cy="5873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08" name="Freeform 268">
              <a:extLst>
                <a:ext uri="{FF2B5EF4-FFF2-40B4-BE49-F238E27FC236}">
                  <a16:creationId xmlns:a16="http://schemas.microsoft.com/office/drawing/2014/main" xmlns="" id="{C80562F8-6F33-41DE-8010-5A9700960D63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013200" y="3313113"/>
              <a:ext cx="42863" cy="155575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09" name="Freeform 269">
              <a:extLst>
                <a:ext uri="{FF2B5EF4-FFF2-40B4-BE49-F238E27FC236}">
                  <a16:creationId xmlns:a16="http://schemas.microsoft.com/office/drawing/2014/main" xmlns="" id="{97F27D0D-0673-48CC-8037-6B1D46BD91BE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038600" y="3275013"/>
              <a:ext cx="76200" cy="188912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10" name="Freeform 270">
              <a:extLst>
                <a:ext uri="{FF2B5EF4-FFF2-40B4-BE49-F238E27FC236}">
                  <a16:creationId xmlns:a16="http://schemas.microsoft.com/office/drawing/2014/main" xmlns="" id="{E448D9F0-3A73-4D74-8ACF-332016EF5F35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767263" y="4479925"/>
              <a:ext cx="25400" cy="60325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11" name="Freeform 271">
              <a:extLst>
                <a:ext uri="{FF2B5EF4-FFF2-40B4-BE49-F238E27FC236}">
                  <a16:creationId xmlns:a16="http://schemas.microsoft.com/office/drawing/2014/main" xmlns="" id="{7C50F08A-ECB9-4490-91BF-1E867C41C16A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12" name="Freeform 272">
              <a:extLst>
                <a:ext uri="{FF2B5EF4-FFF2-40B4-BE49-F238E27FC236}">
                  <a16:creationId xmlns:a16="http://schemas.microsoft.com/office/drawing/2014/main" xmlns="" id="{0DEE2AE7-A61A-4434-8DC7-92B04401C81B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880225" y="2290763"/>
              <a:ext cx="120650" cy="171450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13" name="Freeform 273">
              <a:extLst>
                <a:ext uri="{FF2B5EF4-FFF2-40B4-BE49-F238E27FC236}">
                  <a16:creationId xmlns:a16="http://schemas.microsoft.com/office/drawing/2014/main" xmlns="" id="{6857B6E5-E7E4-4247-A9FB-DA0CF9EA71D3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5951538" y="2705100"/>
              <a:ext cx="206375" cy="123825"/>
            </a:xfrm>
            <a:custGeom>
              <a:avLst/>
              <a:gdLst>
                <a:gd name="T0" fmla="*/ 86 w 471"/>
                <a:gd name="T1" fmla="*/ 0 h 237"/>
                <a:gd name="T2" fmla="*/ 92 w 471"/>
                <a:gd name="T3" fmla="*/ 7 h 237"/>
                <a:gd name="T4" fmla="*/ 102 w 471"/>
                <a:gd name="T5" fmla="*/ 13 h 237"/>
                <a:gd name="T6" fmla="*/ 125 w 471"/>
                <a:gd name="T7" fmla="*/ 23 h 237"/>
                <a:gd name="T8" fmla="*/ 159 w 471"/>
                <a:gd name="T9" fmla="*/ 37 h 237"/>
                <a:gd name="T10" fmla="*/ 223 w 471"/>
                <a:gd name="T11" fmla="*/ 77 h 237"/>
                <a:gd name="T12" fmla="*/ 253 w 471"/>
                <a:gd name="T13" fmla="*/ 97 h 237"/>
                <a:gd name="T14" fmla="*/ 283 w 471"/>
                <a:gd name="T15" fmla="*/ 113 h 237"/>
                <a:gd name="T16" fmla="*/ 316 w 471"/>
                <a:gd name="T17" fmla="*/ 127 h 237"/>
                <a:gd name="T18" fmla="*/ 355 w 471"/>
                <a:gd name="T19" fmla="*/ 139 h 237"/>
                <a:gd name="T20" fmla="*/ 399 w 471"/>
                <a:gd name="T21" fmla="*/ 146 h 237"/>
                <a:gd name="T22" fmla="*/ 451 w 471"/>
                <a:gd name="T23" fmla="*/ 148 h 237"/>
                <a:gd name="T24" fmla="*/ 452 w 471"/>
                <a:gd name="T25" fmla="*/ 187 h 237"/>
                <a:gd name="T26" fmla="*/ 459 w 471"/>
                <a:gd name="T27" fmla="*/ 211 h 237"/>
                <a:gd name="T28" fmla="*/ 467 w 471"/>
                <a:gd name="T29" fmla="*/ 227 h 237"/>
                <a:gd name="T30" fmla="*/ 467 w 471"/>
                <a:gd name="T31" fmla="*/ 236 h 237"/>
                <a:gd name="T32" fmla="*/ 451 w 471"/>
                <a:gd name="T33" fmla="*/ 236 h 237"/>
                <a:gd name="T34" fmla="*/ 416 w 471"/>
                <a:gd name="T35" fmla="*/ 231 h 237"/>
                <a:gd name="T36" fmla="*/ 362 w 471"/>
                <a:gd name="T37" fmla="*/ 219 h 237"/>
                <a:gd name="T38" fmla="*/ 315 w 471"/>
                <a:gd name="T39" fmla="*/ 207 h 237"/>
                <a:gd name="T40" fmla="*/ 294 w 471"/>
                <a:gd name="T41" fmla="*/ 203 h 237"/>
                <a:gd name="T42" fmla="*/ 287 w 471"/>
                <a:gd name="T43" fmla="*/ 199 h 237"/>
                <a:gd name="T44" fmla="*/ 277 w 471"/>
                <a:gd name="T45" fmla="*/ 190 h 237"/>
                <a:gd name="T46" fmla="*/ 267 w 471"/>
                <a:gd name="T47" fmla="*/ 178 h 237"/>
                <a:gd name="T48" fmla="*/ 255 w 471"/>
                <a:gd name="T49" fmla="*/ 166 h 237"/>
                <a:gd name="T50" fmla="*/ 240 w 471"/>
                <a:gd name="T51" fmla="*/ 159 h 237"/>
                <a:gd name="T52" fmla="*/ 227 w 471"/>
                <a:gd name="T53" fmla="*/ 159 h 237"/>
                <a:gd name="T54" fmla="*/ 205 w 471"/>
                <a:gd name="T55" fmla="*/ 163 h 237"/>
                <a:gd name="T56" fmla="*/ 183 w 471"/>
                <a:gd name="T57" fmla="*/ 167 h 237"/>
                <a:gd name="T58" fmla="*/ 169 w 471"/>
                <a:gd name="T59" fmla="*/ 168 h 237"/>
                <a:gd name="T60" fmla="*/ 158 w 471"/>
                <a:gd name="T61" fmla="*/ 164 h 237"/>
                <a:gd name="T62" fmla="*/ 148 w 471"/>
                <a:gd name="T63" fmla="*/ 155 h 237"/>
                <a:gd name="T64" fmla="*/ 139 w 471"/>
                <a:gd name="T65" fmla="*/ 148 h 237"/>
                <a:gd name="T66" fmla="*/ 122 w 471"/>
                <a:gd name="T67" fmla="*/ 145 h 237"/>
                <a:gd name="T68" fmla="*/ 92 w 471"/>
                <a:gd name="T69" fmla="*/ 135 h 237"/>
                <a:gd name="T70" fmla="*/ 48 w 471"/>
                <a:gd name="T71" fmla="*/ 117 h 237"/>
                <a:gd name="T72" fmla="*/ 12 w 471"/>
                <a:gd name="T73" fmla="*/ 96 h 237"/>
                <a:gd name="T74" fmla="*/ 7 w 471"/>
                <a:gd name="T7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14" name="Freeform 274">
              <a:extLst>
                <a:ext uri="{FF2B5EF4-FFF2-40B4-BE49-F238E27FC236}">
                  <a16:creationId xmlns:a16="http://schemas.microsoft.com/office/drawing/2014/main" xmlns="" id="{6ECED12E-1B72-41BE-B151-0907C0E44346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167438" y="2760663"/>
              <a:ext cx="73025" cy="65087"/>
            </a:xfrm>
            <a:custGeom>
              <a:avLst/>
              <a:gdLst>
                <a:gd name="T0" fmla="*/ 167 w 167"/>
                <a:gd name="T1" fmla="*/ 43 h 123"/>
                <a:gd name="T2" fmla="*/ 164 w 167"/>
                <a:gd name="T3" fmla="*/ 54 h 123"/>
                <a:gd name="T4" fmla="*/ 161 w 167"/>
                <a:gd name="T5" fmla="*/ 66 h 123"/>
                <a:gd name="T6" fmla="*/ 155 w 167"/>
                <a:gd name="T7" fmla="*/ 79 h 123"/>
                <a:gd name="T8" fmla="*/ 150 w 167"/>
                <a:gd name="T9" fmla="*/ 93 h 123"/>
                <a:gd name="T10" fmla="*/ 146 w 167"/>
                <a:gd name="T11" fmla="*/ 99 h 123"/>
                <a:gd name="T12" fmla="*/ 142 w 167"/>
                <a:gd name="T13" fmla="*/ 105 h 123"/>
                <a:gd name="T14" fmla="*/ 138 w 167"/>
                <a:gd name="T15" fmla="*/ 110 h 123"/>
                <a:gd name="T16" fmla="*/ 132 w 167"/>
                <a:gd name="T17" fmla="*/ 114 h 123"/>
                <a:gd name="T18" fmla="*/ 127 w 167"/>
                <a:gd name="T19" fmla="*/ 118 h 123"/>
                <a:gd name="T20" fmla="*/ 121 w 167"/>
                <a:gd name="T21" fmla="*/ 121 h 123"/>
                <a:gd name="T22" fmla="*/ 115 w 167"/>
                <a:gd name="T23" fmla="*/ 122 h 123"/>
                <a:gd name="T24" fmla="*/ 107 w 167"/>
                <a:gd name="T25" fmla="*/ 123 h 123"/>
                <a:gd name="T26" fmla="*/ 100 w 167"/>
                <a:gd name="T27" fmla="*/ 122 h 123"/>
                <a:gd name="T28" fmla="*/ 92 w 167"/>
                <a:gd name="T29" fmla="*/ 119 h 123"/>
                <a:gd name="T30" fmla="*/ 87 w 167"/>
                <a:gd name="T31" fmla="*/ 116 h 123"/>
                <a:gd name="T32" fmla="*/ 84 w 167"/>
                <a:gd name="T33" fmla="*/ 113 h 123"/>
                <a:gd name="T34" fmla="*/ 82 w 167"/>
                <a:gd name="T35" fmla="*/ 109 h 123"/>
                <a:gd name="T36" fmla="*/ 81 w 167"/>
                <a:gd name="T37" fmla="*/ 105 h 123"/>
                <a:gd name="T38" fmla="*/ 71 w 167"/>
                <a:gd name="T39" fmla="*/ 104 h 123"/>
                <a:gd name="T40" fmla="*/ 61 w 167"/>
                <a:gd name="T41" fmla="*/ 103 h 123"/>
                <a:gd name="T42" fmla="*/ 51 w 167"/>
                <a:gd name="T43" fmla="*/ 101 h 123"/>
                <a:gd name="T44" fmla="*/ 41 w 167"/>
                <a:gd name="T45" fmla="*/ 98 h 123"/>
                <a:gd name="T46" fmla="*/ 21 w 167"/>
                <a:gd name="T47" fmla="*/ 92 h 123"/>
                <a:gd name="T48" fmla="*/ 0 w 167"/>
                <a:gd name="T49" fmla="*/ 86 h 123"/>
                <a:gd name="T50" fmla="*/ 2 w 167"/>
                <a:gd name="T51" fmla="*/ 77 h 123"/>
                <a:gd name="T52" fmla="*/ 5 w 167"/>
                <a:gd name="T53" fmla="*/ 67 h 123"/>
                <a:gd name="T54" fmla="*/ 9 w 167"/>
                <a:gd name="T55" fmla="*/ 56 h 123"/>
                <a:gd name="T56" fmla="*/ 15 w 167"/>
                <a:gd name="T57" fmla="*/ 43 h 123"/>
                <a:gd name="T58" fmla="*/ 20 w 167"/>
                <a:gd name="T59" fmla="*/ 43 h 123"/>
                <a:gd name="T60" fmla="*/ 26 w 167"/>
                <a:gd name="T61" fmla="*/ 42 h 123"/>
                <a:gd name="T62" fmla="*/ 30 w 167"/>
                <a:gd name="T63" fmla="*/ 41 h 123"/>
                <a:gd name="T64" fmla="*/ 33 w 167"/>
                <a:gd name="T65" fmla="*/ 38 h 123"/>
                <a:gd name="T66" fmla="*/ 40 w 167"/>
                <a:gd name="T67" fmla="*/ 33 h 123"/>
                <a:gd name="T68" fmla="*/ 45 w 167"/>
                <a:gd name="T69" fmla="*/ 26 h 123"/>
                <a:gd name="T70" fmla="*/ 52 w 167"/>
                <a:gd name="T71" fmla="*/ 12 h 123"/>
                <a:gd name="T72" fmla="*/ 61 w 167"/>
                <a:gd name="T73" fmla="*/ 0 h 123"/>
                <a:gd name="T74" fmla="*/ 64 w 167"/>
                <a:gd name="T75" fmla="*/ 4 h 123"/>
                <a:gd name="T76" fmla="*/ 67 w 167"/>
                <a:gd name="T77" fmla="*/ 7 h 123"/>
                <a:gd name="T78" fmla="*/ 73 w 167"/>
                <a:gd name="T79" fmla="*/ 11 h 123"/>
                <a:gd name="T80" fmla="*/ 78 w 167"/>
                <a:gd name="T81" fmla="*/ 14 h 123"/>
                <a:gd name="T82" fmla="*/ 92 w 167"/>
                <a:gd name="T83" fmla="*/ 21 h 123"/>
                <a:gd name="T84" fmla="*/ 107 w 167"/>
                <a:gd name="T85" fmla="*/ 28 h 123"/>
                <a:gd name="T86" fmla="*/ 122 w 167"/>
                <a:gd name="T87" fmla="*/ 35 h 123"/>
                <a:gd name="T88" fmla="*/ 139 w 167"/>
                <a:gd name="T89" fmla="*/ 39 h 123"/>
                <a:gd name="T90" fmla="*/ 153 w 167"/>
                <a:gd name="T91" fmla="*/ 42 h 123"/>
                <a:gd name="T92" fmla="*/ 167 w 167"/>
                <a:gd name="T93" fmla="*/ 4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15" name="Freeform 275">
              <a:extLst>
                <a:ext uri="{FF2B5EF4-FFF2-40B4-BE49-F238E27FC236}">
                  <a16:creationId xmlns:a16="http://schemas.microsoft.com/office/drawing/2014/main" xmlns="" id="{E7C22229-BEF7-4402-9A13-47FAD2069AFB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157913" y="2832100"/>
              <a:ext cx="133350" cy="166688"/>
            </a:xfrm>
            <a:custGeom>
              <a:avLst/>
              <a:gdLst>
                <a:gd name="T0" fmla="*/ 259 w 306"/>
                <a:gd name="T1" fmla="*/ 160 h 321"/>
                <a:gd name="T2" fmla="*/ 252 w 306"/>
                <a:gd name="T3" fmla="*/ 173 h 321"/>
                <a:gd name="T4" fmla="*/ 243 w 306"/>
                <a:gd name="T5" fmla="*/ 182 h 321"/>
                <a:gd name="T6" fmla="*/ 233 w 306"/>
                <a:gd name="T7" fmla="*/ 186 h 321"/>
                <a:gd name="T8" fmla="*/ 223 w 306"/>
                <a:gd name="T9" fmla="*/ 184 h 321"/>
                <a:gd name="T10" fmla="*/ 214 w 306"/>
                <a:gd name="T11" fmla="*/ 178 h 321"/>
                <a:gd name="T12" fmla="*/ 209 w 306"/>
                <a:gd name="T13" fmla="*/ 169 h 321"/>
                <a:gd name="T14" fmla="*/ 206 w 306"/>
                <a:gd name="T15" fmla="*/ 160 h 321"/>
                <a:gd name="T16" fmla="*/ 209 w 306"/>
                <a:gd name="T17" fmla="*/ 148 h 321"/>
                <a:gd name="T18" fmla="*/ 213 w 306"/>
                <a:gd name="T19" fmla="*/ 136 h 321"/>
                <a:gd name="T20" fmla="*/ 230 w 306"/>
                <a:gd name="T21" fmla="*/ 114 h 321"/>
                <a:gd name="T22" fmla="*/ 246 w 306"/>
                <a:gd name="T23" fmla="*/ 93 h 321"/>
                <a:gd name="T24" fmla="*/ 250 w 306"/>
                <a:gd name="T25" fmla="*/ 82 h 321"/>
                <a:gd name="T26" fmla="*/ 253 w 306"/>
                <a:gd name="T27" fmla="*/ 69 h 321"/>
                <a:gd name="T28" fmla="*/ 129 w 306"/>
                <a:gd name="T29" fmla="*/ 68 h 321"/>
                <a:gd name="T30" fmla="*/ 119 w 306"/>
                <a:gd name="T31" fmla="*/ 59 h 321"/>
                <a:gd name="T32" fmla="*/ 112 w 306"/>
                <a:gd name="T33" fmla="*/ 45 h 321"/>
                <a:gd name="T34" fmla="*/ 108 w 306"/>
                <a:gd name="T35" fmla="*/ 28 h 321"/>
                <a:gd name="T36" fmla="*/ 101 w 306"/>
                <a:gd name="T37" fmla="*/ 19 h 321"/>
                <a:gd name="T38" fmla="*/ 90 w 306"/>
                <a:gd name="T39" fmla="*/ 17 h 321"/>
                <a:gd name="T40" fmla="*/ 80 w 306"/>
                <a:gd name="T41" fmla="*/ 12 h 321"/>
                <a:gd name="T42" fmla="*/ 75 w 306"/>
                <a:gd name="T43" fmla="*/ 4 h 321"/>
                <a:gd name="T44" fmla="*/ 65 w 306"/>
                <a:gd name="T45" fmla="*/ 0 h 321"/>
                <a:gd name="T46" fmla="*/ 49 w 306"/>
                <a:gd name="T47" fmla="*/ 0 h 321"/>
                <a:gd name="T48" fmla="*/ 34 w 306"/>
                <a:gd name="T49" fmla="*/ 1 h 321"/>
                <a:gd name="T50" fmla="*/ 22 w 306"/>
                <a:gd name="T51" fmla="*/ 5 h 321"/>
                <a:gd name="T52" fmla="*/ 10 w 306"/>
                <a:gd name="T53" fmla="*/ 14 h 321"/>
                <a:gd name="T54" fmla="*/ 1 w 306"/>
                <a:gd name="T55" fmla="*/ 25 h 321"/>
                <a:gd name="T56" fmla="*/ 2 w 306"/>
                <a:gd name="T57" fmla="*/ 35 h 321"/>
                <a:gd name="T58" fmla="*/ 15 w 306"/>
                <a:gd name="T59" fmla="*/ 46 h 321"/>
                <a:gd name="T60" fmla="*/ 35 w 306"/>
                <a:gd name="T61" fmla="*/ 58 h 321"/>
                <a:gd name="T62" fmla="*/ 54 w 306"/>
                <a:gd name="T63" fmla="*/ 67 h 321"/>
                <a:gd name="T64" fmla="*/ 47 w 306"/>
                <a:gd name="T65" fmla="*/ 79 h 321"/>
                <a:gd name="T66" fmla="*/ 25 w 306"/>
                <a:gd name="T67" fmla="*/ 97 h 321"/>
                <a:gd name="T68" fmla="*/ 17 w 306"/>
                <a:gd name="T69" fmla="*/ 107 h 321"/>
                <a:gd name="T70" fmla="*/ 14 w 306"/>
                <a:gd name="T71" fmla="*/ 114 h 321"/>
                <a:gd name="T72" fmla="*/ 14 w 306"/>
                <a:gd name="T73" fmla="*/ 122 h 321"/>
                <a:gd name="T74" fmla="*/ 18 w 306"/>
                <a:gd name="T75" fmla="*/ 129 h 321"/>
                <a:gd name="T76" fmla="*/ 28 w 306"/>
                <a:gd name="T77" fmla="*/ 141 h 321"/>
                <a:gd name="T78" fmla="*/ 47 w 306"/>
                <a:gd name="T79" fmla="*/ 156 h 321"/>
                <a:gd name="T80" fmla="*/ 64 w 306"/>
                <a:gd name="T81" fmla="*/ 164 h 321"/>
                <a:gd name="T82" fmla="*/ 75 w 306"/>
                <a:gd name="T83" fmla="*/ 166 h 321"/>
                <a:gd name="T84" fmla="*/ 107 w 306"/>
                <a:gd name="T85" fmla="*/ 271 h 321"/>
                <a:gd name="T86" fmla="*/ 108 w 306"/>
                <a:gd name="T87" fmla="*/ 263 h 321"/>
                <a:gd name="T88" fmla="*/ 112 w 306"/>
                <a:gd name="T89" fmla="*/ 256 h 321"/>
                <a:gd name="T90" fmla="*/ 127 w 306"/>
                <a:gd name="T91" fmla="*/ 246 h 321"/>
                <a:gd name="T92" fmla="*/ 148 w 306"/>
                <a:gd name="T93" fmla="*/ 240 h 321"/>
                <a:gd name="T94" fmla="*/ 174 w 306"/>
                <a:gd name="T95" fmla="*/ 235 h 321"/>
                <a:gd name="T96" fmla="*/ 174 w 306"/>
                <a:gd name="T97" fmla="*/ 210 h 321"/>
                <a:gd name="T98" fmla="*/ 183 w 306"/>
                <a:gd name="T99" fmla="*/ 212 h 321"/>
                <a:gd name="T100" fmla="*/ 193 w 306"/>
                <a:gd name="T101" fmla="*/ 212 h 321"/>
                <a:gd name="T102" fmla="*/ 213 w 306"/>
                <a:gd name="T103" fmla="*/ 210 h 321"/>
                <a:gd name="T104" fmla="*/ 232 w 306"/>
                <a:gd name="T105" fmla="*/ 261 h 321"/>
                <a:gd name="T106" fmla="*/ 259 w 306"/>
                <a:gd name="T107" fmla="*/ 321 h 321"/>
                <a:gd name="T108" fmla="*/ 272 w 306"/>
                <a:gd name="T109" fmla="*/ 311 h 321"/>
                <a:gd name="T110" fmla="*/ 282 w 306"/>
                <a:gd name="T111" fmla="*/ 302 h 321"/>
                <a:gd name="T112" fmla="*/ 295 w 306"/>
                <a:gd name="T113" fmla="*/ 280 h 321"/>
                <a:gd name="T114" fmla="*/ 306 w 306"/>
                <a:gd name="T115" fmla="*/ 23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16" name="Freeform 276">
              <a:extLst>
                <a:ext uri="{FF2B5EF4-FFF2-40B4-BE49-F238E27FC236}">
                  <a16:creationId xmlns:a16="http://schemas.microsoft.com/office/drawing/2014/main" xmlns="" id="{59226F7B-7CEB-4B61-A1D0-E469E2E2C8DF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475413" y="2947988"/>
              <a:ext cx="201612" cy="269875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17" name="Freeform 277">
              <a:extLst>
                <a:ext uri="{FF2B5EF4-FFF2-40B4-BE49-F238E27FC236}">
                  <a16:creationId xmlns:a16="http://schemas.microsoft.com/office/drawing/2014/main" xmlns="" id="{10B81399-3FA4-456E-B242-5263DEDFD591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557963" y="3198813"/>
              <a:ext cx="133350" cy="130175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00B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18" name="Freeform 278">
              <a:extLst>
                <a:ext uri="{FF2B5EF4-FFF2-40B4-BE49-F238E27FC236}">
                  <a16:creationId xmlns:a16="http://schemas.microsoft.com/office/drawing/2014/main" xmlns="" id="{17F55CE8-6DFD-416F-963C-D376913C550C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959600" y="2435225"/>
              <a:ext cx="85725" cy="130175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19" name="Freeform 279">
              <a:extLst>
                <a:ext uri="{FF2B5EF4-FFF2-40B4-BE49-F238E27FC236}">
                  <a16:creationId xmlns:a16="http://schemas.microsoft.com/office/drawing/2014/main" xmlns="" id="{7B9AEF66-8158-4308-98EF-9D8F1AEC5404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7527925" y="3732213"/>
              <a:ext cx="231775" cy="254000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20" name="Freeform 280">
              <a:extLst>
                <a:ext uri="{FF2B5EF4-FFF2-40B4-BE49-F238E27FC236}">
                  <a16:creationId xmlns:a16="http://schemas.microsoft.com/office/drawing/2014/main" xmlns="" id="{E9A9E9CE-B4FF-4F11-97D8-C7A0740817B6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7720013" y="3716338"/>
              <a:ext cx="106362" cy="128587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21" name="Freeform 281">
              <a:extLst>
                <a:ext uri="{FF2B5EF4-FFF2-40B4-BE49-F238E27FC236}">
                  <a16:creationId xmlns:a16="http://schemas.microsoft.com/office/drawing/2014/main" xmlns="" id="{7127BA6C-1791-4F4B-99EE-592F39F6A3B8}"/>
                </a:ext>
              </a:extLst>
            </p:cNvPr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5995988" y="3349625"/>
              <a:ext cx="63500" cy="119063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grpSp>
          <p:nvGrpSpPr>
            <p:cNvPr id="222" name="Group 282">
              <a:extLst>
                <a:ext uri="{FF2B5EF4-FFF2-40B4-BE49-F238E27FC236}">
                  <a16:creationId xmlns:a16="http://schemas.microsoft.com/office/drawing/2014/main" xmlns="" id="{9E1CDAFF-D808-4BC0-85C1-AFAE7BAA180C}"/>
                </a:ext>
              </a:extLst>
            </p:cNvPr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6935788" y="3060700"/>
              <a:ext cx="233362" cy="439738"/>
              <a:chOff x="5062" y="2295"/>
              <a:chExt cx="177" cy="279"/>
            </a:xfrm>
          </p:grpSpPr>
          <p:sp>
            <p:nvSpPr>
              <p:cNvPr id="467" name="Freeform 283">
                <a:extLst>
                  <a:ext uri="{FF2B5EF4-FFF2-40B4-BE49-F238E27FC236}">
                    <a16:creationId xmlns:a16="http://schemas.microsoft.com/office/drawing/2014/main" xmlns="" id="{51BCC4FB-6AD3-4F63-8E7E-154A7FB93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00B05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68" name="Freeform 284">
                <a:extLst>
                  <a:ext uri="{FF2B5EF4-FFF2-40B4-BE49-F238E27FC236}">
                    <a16:creationId xmlns:a16="http://schemas.microsoft.com/office/drawing/2014/main" xmlns="" id="{400653DE-4560-4FD1-9EA2-023B5041AA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00B05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69" name="Freeform 285">
                <a:extLst>
                  <a:ext uri="{FF2B5EF4-FFF2-40B4-BE49-F238E27FC236}">
                    <a16:creationId xmlns:a16="http://schemas.microsoft.com/office/drawing/2014/main" xmlns="" id="{3A4C95D1-A4FA-4BB5-A938-6396996879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70" name="Freeform 286">
                <a:extLst>
                  <a:ext uri="{FF2B5EF4-FFF2-40B4-BE49-F238E27FC236}">
                    <a16:creationId xmlns:a16="http://schemas.microsoft.com/office/drawing/2014/main" xmlns="" id="{5588E225-E2AA-436B-A812-DDA970FF86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00B05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71" name="Freeform 287">
                <a:extLst>
                  <a:ext uri="{FF2B5EF4-FFF2-40B4-BE49-F238E27FC236}">
                    <a16:creationId xmlns:a16="http://schemas.microsoft.com/office/drawing/2014/main" xmlns="" id="{9D33CA38-7ECB-4914-8739-4CF1032CB9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72" name="Freeform 288">
                <a:extLst>
                  <a:ext uri="{FF2B5EF4-FFF2-40B4-BE49-F238E27FC236}">
                    <a16:creationId xmlns:a16="http://schemas.microsoft.com/office/drawing/2014/main" xmlns="" id="{E754AD49-3B14-40FB-A75E-21E86BE25F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73" name="Freeform 289">
                <a:extLst>
                  <a:ext uri="{FF2B5EF4-FFF2-40B4-BE49-F238E27FC236}">
                    <a16:creationId xmlns:a16="http://schemas.microsoft.com/office/drawing/2014/main" xmlns="" id="{7DD1C75B-279C-4B46-B5FD-1926CE4033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74" name="Freeform 290">
                <a:extLst>
                  <a:ext uri="{FF2B5EF4-FFF2-40B4-BE49-F238E27FC236}">
                    <a16:creationId xmlns:a16="http://schemas.microsoft.com/office/drawing/2014/main" xmlns="" id="{8D49750B-8709-4B35-8098-2DAC7175C4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00B05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75" name="Freeform 291">
                <a:extLst>
                  <a:ext uri="{FF2B5EF4-FFF2-40B4-BE49-F238E27FC236}">
                    <a16:creationId xmlns:a16="http://schemas.microsoft.com/office/drawing/2014/main" xmlns="" id="{5F24DC86-DE92-406D-8444-475C4E801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00B05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76" name="Freeform 292">
                <a:extLst>
                  <a:ext uri="{FF2B5EF4-FFF2-40B4-BE49-F238E27FC236}">
                    <a16:creationId xmlns:a16="http://schemas.microsoft.com/office/drawing/2014/main" xmlns="" id="{0FB81677-2F9F-4F36-9CEB-A235BA6811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00B05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77" name="Freeform 293">
                <a:extLst>
                  <a:ext uri="{FF2B5EF4-FFF2-40B4-BE49-F238E27FC236}">
                    <a16:creationId xmlns:a16="http://schemas.microsoft.com/office/drawing/2014/main" xmlns="" id="{F7E725FC-3904-4596-BEC4-84845A8587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00B05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78" name="Freeform 294">
                <a:extLst>
                  <a:ext uri="{FF2B5EF4-FFF2-40B4-BE49-F238E27FC236}">
                    <a16:creationId xmlns:a16="http://schemas.microsoft.com/office/drawing/2014/main" xmlns="" id="{1E41FBCE-7881-45DF-AC0B-F46A4977BF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00B05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79" name="Freeform 295">
                <a:extLst>
                  <a:ext uri="{FF2B5EF4-FFF2-40B4-BE49-F238E27FC236}">
                    <a16:creationId xmlns:a16="http://schemas.microsoft.com/office/drawing/2014/main" xmlns="" id="{4D14079F-9B55-4E61-913E-409902011A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80" name="Freeform 296">
                <a:extLst>
                  <a:ext uri="{FF2B5EF4-FFF2-40B4-BE49-F238E27FC236}">
                    <a16:creationId xmlns:a16="http://schemas.microsoft.com/office/drawing/2014/main" xmlns="" id="{DBBF6D7E-20D3-4029-9577-17FA8A319D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81" name="Freeform 297">
                <a:extLst>
                  <a:ext uri="{FF2B5EF4-FFF2-40B4-BE49-F238E27FC236}">
                    <a16:creationId xmlns:a16="http://schemas.microsoft.com/office/drawing/2014/main" xmlns="" id="{45A280C5-9769-4A9B-8C85-2F761E559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82" name="Line 298">
                <a:extLst>
                  <a:ext uri="{FF2B5EF4-FFF2-40B4-BE49-F238E27FC236}">
                    <a16:creationId xmlns:a16="http://schemas.microsoft.com/office/drawing/2014/main" xmlns="" id="{2FE4A56B-67B4-4854-9122-0BF37212ED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83" name="Freeform 299">
                <a:extLst>
                  <a:ext uri="{FF2B5EF4-FFF2-40B4-BE49-F238E27FC236}">
                    <a16:creationId xmlns:a16="http://schemas.microsoft.com/office/drawing/2014/main" xmlns="" id="{D62A1F53-E3A1-459E-8E17-436BEBD7BF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84" name="Line 300">
                <a:extLst>
                  <a:ext uri="{FF2B5EF4-FFF2-40B4-BE49-F238E27FC236}">
                    <a16:creationId xmlns:a16="http://schemas.microsoft.com/office/drawing/2014/main" xmlns="" id="{DD8F10B7-72FB-44D7-8CB0-CEE000C6F4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85" name="Freeform 301">
                <a:extLst>
                  <a:ext uri="{FF2B5EF4-FFF2-40B4-BE49-F238E27FC236}">
                    <a16:creationId xmlns:a16="http://schemas.microsoft.com/office/drawing/2014/main" xmlns="" id="{05521CAB-609F-4605-A96B-37081B95B3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86" name="Freeform 302">
                <a:extLst>
                  <a:ext uri="{FF2B5EF4-FFF2-40B4-BE49-F238E27FC236}">
                    <a16:creationId xmlns:a16="http://schemas.microsoft.com/office/drawing/2014/main" xmlns="" id="{C049B3B2-AB0E-4010-8FD8-519D315E48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87" name="Freeform 303">
                <a:extLst>
                  <a:ext uri="{FF2B5EF4-FFF2-40B4-BE49-F238E27FC236}">
                    <a16:creationId xmlns:a16="http://schemas.microsoft.com/office/drawing/2014/main" xmlns="" id="{E69B4044-3A99-404F-ACAF-7BD6FE9E86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88" name="Freeform 304">
                <a:extLst>
                  <a:ext uri="{FF2B5EF4-FFF2-40B4-BE49-F238E27FC236}">
                    <a16:creationId xmlns:a16="http://schemas.microsoft.com/office/drawing/2014/main" xmlns="" id="{F3DC6AB1-FE28-4E8A-ACD9-65CAF1BC5D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89" name="Freeform 305">
                <a:extLst>
                  <a:ext uri="{FF2B5EF4-FFF2-40B4-BE49-F238E27FC236}">
                    <a16:creationId xmlns:a16="http://schemas.microsoft.com/office/drawing/2014/main" xmlns="" id="{7775F02A-D2D4-432C-8253-315098AC46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90" name="Line 306">
                <a:extLst>
                  <a:ext uri="{FF2B5EF4-FFF2-40B4-BE49-F238E27FC236}">
                    <a16:creationId xmlns:a16="http://schemas.microsoft.com/office/drawing/2014/main" xmlns="" id="{4B218707-225C-44D8-A084-8483C9F607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</p:grpSp>
        <p:sp>
          <p:nvSpPr>
            <p:cNvPr id="223" name="Freeform 307">
              <a:extLst>
                <a:ext uri="{FF2B5EF4-FFF2-40B4-BE49-F238E27FC236}">
                  <a16:creationId xmlns:a16="http://schemas.microsoft.com/office/drawing/2014/main" xmlns="" id="{55BC0DCB-1DAD-40AD-92F5-E631D67EDC4F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7280275" y="3879850"/>
              <a:ext cx="14288" cy="55563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24" name="Freeform 308">
              <a:extLst>
                <a:ext uri="{FF2B5EF4-FFF2-40B4-BE49-F238E27FC236}">
                  <a16:creationId xmlns:a16="http://schemas.microsoft.com/office/drawing/2014/main" xmlns="" id="{B4C02A66-1CE4-46AC-96BC-11C9EB59B4FA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7356475" y="3819525"/>
              <a:ext cx="22225" cy="5873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25" name="Freeform 309">
              <a:extLst>
                <a:ext uri="{FF2B5EF4-FFF2-40B4-BE49-F238E27FC236}">
                  <a16:creationId xmlns:a16="http://schemas.microsoft.com/office/drawing/2014/main" xmlns="" id="{69E123BC-AD3F-4006-BDF9-D14FD7A64E7E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7404100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26" name="Freeform 310">
              <a:extLst>
                <a:ext uri="{FF2B5EF4-FFF2-40B4-BE49-F238E27FC236}">
                  <a16:creationId xmlns:a16="http://schemas.microsoft.com/office/drawing/2014/main" xmlns="" id="{4A48C447-879B-4394-BE59-133A35F1D3E9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388225" y="3668713"/>
              <a:ext cx="25400" cy="57150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27" name="Freeform 311">
              <a:extLst>
                <a:ext uri="{FF2B5EF4-FFF2-40B4-BE49-F238E27FC236}">
                  <a16:creationId xmlns:a16="http://schemas.microsoft.com/office/drawing/2014/main" xmlns="" id="{80D94D64-146F-4F03-AF92-F9D318A1039E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213600" y="3565525"/>
              <a:ext cx="7938" cy="57150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28" name="Freeform 312">
              <a:extLst>
                <a:ext uri="{FF2B5EF4-FFF2-40B4-BE49-F238E27FC236}">
                  <a16:creationId xmlns:a16="http://schemas.microsoft.com/office/drawing/2014/main" xmlns="" id="{ED0C2C94-31E2-4477-B6CA-DF658F7F7170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140575" y="3700463"/>
              <a:ext cx="30163" cy="58737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29" name="Freeform 313">
              <a:extLst>
                <a:ext uri="{FF2B5EF4-FFF2-40B4-BE49-F238E27FC236}">
                  <a16:creationId xmlns:a16="http://schemas.microsoft.com/office/drawing/2014/main" xmlns="" id="{3879EF92-5DBE-43B4-A846-2D3CD99C0E61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148513" y="3886200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30" name="Freeform 314">
              <a:extLst>
                <a:ext uri="{FF2B5EF4-FFF2-40B4-BE49-F238E27FC236}">
                  <a16:creationId xmlns:a16="http://schemas.microsoft.com/office/drawing/2014/main" xmlns="" id="{E6232E6B-F3E2-49FA-95A8-FE3EBFD3C809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261225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31" name="Freeform 315">
              <a:extLst>
                <a:ext uri="{FF2B5EF4-FFF2-40B4-BE49-F238E27FC236}">
                  <a16:creationId xmlns:a16="http://schemas.microsoft.com/office/drawing/2014/main" xmlns="" id="{DF33122F-01D5-46DE-8BD4-43BE4897F43A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121525" y="3700463"/>
              <a:ext cx="19050" cy="58737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32" name="Freeform 316">
              <a:extLst>
                <a:ext uri="{FF2B5EF4-FFF2-40B4-BE49-F238E27FC236}">
                  <a16:creationId xmlns:a16="http://schemas.microsoft.com/office/drawing/2014/main" xmlns="" id="{A1ACA6CD-E74B-4693-80FB-31A819929C82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165975" y="3748088"/>
              <a:ext cx="30163" cy="57150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33" name="Freeform 317">
              <a:extLst>
                <a:ext uri="{FF2B5EF4-FFF2-40B4-BE49-F238E27FC236}">
                  <a16:creationId xmlns:a16="http://schemas.microsoft.com/office/drawing/2014/main" xmlns="" id="{08885CF5-8716-4BB1-87B5-1349B1954709}"/>
                </a:ext>
              </a:extLst>
            </p:cNvPr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6967538" y="3951288"/>
              <a:ext cx="46037" cy="587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34" name="Freeform 318">
              <a:extLst>
                <a:ext uri="{FF2B5EF4-FFF2-40B4-BE49-F238E27FC236}">
                  <a16:creationId xmlns:a16="http://schemas.microsoft.com/office/drawing/2014/main" xmlns="" id="{EEC09D7D-F68F-4862-B845-4749858AAB1F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7065963" y="3989388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35" name="Freeform 319">
              <a:extLst>
                <a:ext uri="{FF2B5EF4-FFF2-40B4-BE49-F238E27FC236}">
                  <a16:creationId xmlns:a16="http://schemas.microsoft.com/office/drawing/2014/main" xmlns="" id="{8CED4259-CEE8-44B6-9363-B00D869D22A4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899275" y="3921125"/>
              <a:ext cx="36513" cy="55563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36" name="Freeform 320">
              <a:extLst>
                <a:ext uri="{FF2B5EF4-FFF2-40B4-BE49-F238E27FC236}">
                  <a16:creationId xmlns:a16="http://schemas.microsoft.com/office/drawing/2014/main" xmlns="" id="{D9955014-9C1D-4C98-B233-AE75C660DFB5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943725" y="3906838"/>
              <a:ext cx="39688" cy="55562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37" name="Freeform 321">
              <a:extLst>
                <a:ext uri="{FF2B5EF4-FFF2-40B4-BE49-F238E27FC236}">
                  <a16:creationId xmlns:a16="http://schemas.microsoft.com/office/drawing/2014/main" xmlns="" id="{89D4E178-D0BF-4A2B-834E-22FC9DB50AE4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996113" y="3916363"/>
              <a:ext cx="36512" cy="58737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38" name="Freeform 322">
              <a:extLst>
                <a:ext uri="{FF2B5EF4-FFF2-40B4-BE49-F238E27FC236}">
                  <a16:creationId xmlns:a16="http://schemas.microsoft.com/office/drawing/2014/main" xmlns="" id="{4EF649BB-CC31-4D7C-AAB0-1A75AE29C038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048500" y="3921125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39" name="Freeform 323">
              <a:extLst>
                <a:ext uri="{FF2B5EF4-FFF2-40B4-BE49-F238E27FC236}">
                  <a16:creationId xmlns:a16="http://schemas.microsoft.com/office/drawing/2014/main" xmlns="" id="{ACEFEEB7-768B-4271-8EB3-F656217390BF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7121525" y="3913188"/>
              <a:ext cx="1588" cy="55562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40" name="Freeform 324">
              <a:extLst>
                <a:ext uri="{FF2B5EF4-FFF2-40B4-BE49-F238E27FC236}">
                  <a16:creationId xmlns:a16="http://schemas.microsoft.com/office/drawing/2014/main" xmlns="" id="{22728779-C1E3-41A6-97DF-BE3726FCBE6B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696075" y="3727450"/>
              <a:ext cx="20638" cy="587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41" name="Freeform 325">
              <a:extLst>
                <a:ext uri="{FF2B5EF4-FFF2-40B4-BE49-F238E27FC236}">
                  <a16:creationId xmlns:a16="http://schemas.microsoft.com/office/drawing/2014/main" xmlns="" id="{48A09FD9-565F-4B10-8538-75689AB7C461}"/>
                </a:ext>
              </a:extLst>
            </p:cNvPr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642100" y="3700463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42" name="Freeform 326">
              <a:extLst>
                <a:ext uri="{FF2B5EF4-FFF2-40B4-BE49-F238E27FC236}">
                  <a16:creationId xmlns:a16="http://schemas.microsoft.com/office/drawing/2014/main" xmlns="" id="{068F6EB8-C628-49F9-84E7-8770AC434DB1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477000" y="3684588"/>
              <a:ext cx="7938" cy="57150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43" name="Line 327">
              <a:extLst>
                <a:ext uri="{FF2B5EF4-FFF2-40B4-BE49-F238E27FC236}">
                  <a16:creationId xmlns:a16="http://schemas.microsoft.com/office/drawing/2014/main" xmlns="" id="{25E783CC-C9F8-47D8-91EB-EBCD0DACBA11}"/>
                </a:ext>
              </a:extLst>
            </p:cNvPr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6502400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44" name="Freeform 328">
              <a:extLst>
                <a:ext uri="{FF2B5EF4-FFF2-40B4-BE49-F238E27FC236}">
                  <a16:creationId xmlns:a16="http://schemas.microsoft.com/office/drawing/2014/main" xmlns="" id="{ED590433-9A84-4BFC-88EA-62C981EA4260}"/>
                </a:ext>
              </a:extLst>
            </p:cNvPr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499225" y="3721100"/>
              <a:ext cx="7938" cy="57150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45" name="Freeform 329">
              <a:extLst>
                <a:ext uri="{FF2B5EF4-FFF2-40B4-BE49-F238E27FC236}">
                  <a16:creationId xmlns:a16="http://schemas.microsoft.com/office/drawing/2014/main" xmlns="" id="{F4AA56EF-600A-416C-BD9B-F2060AED070B}"/>
                </a:ext>
              </a:extLst>
            </p:cNvPr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400800" y="3565525"/>
              <a:ext cx="22225" cy="57150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46" name="Freeform 330">
              <a:extLst>
                <a:ext uri="{FF2B5EF4-FFF2-40B4-BE49-F238E27FC236}">
                  <a16:creationId xmlns:a16="http://schemas.microsoft.com/office/drawing/2014/main" xmlns="" id="{68BA1A31-38F0-4916-9FF1-62860F4ECF25}"/>
                </a:ext>
              </a:extLst>
            </p:cNvPr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929438" y="3929063"/>
              <a:ext cx="11112" cy="57150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47" name="Freeform 331">
              <a:extLst>
                <a:ext uri="{FF2B5EF4-FFF2-40B4-BE49-F238E27FC236}">
                  <a16:creationId xmlns:a16="http://schemas.microsoft.com/office/drawing/2014/main" xmlns="" id="{287A8CCA-0EE2-4E1F-8AAF-8A3E06EA5EBD}"/>
                </a:ext>
              </a:extLst>
            </p:cNvPr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7445375" y="3886200"/>
              <a:ext cx="28575" cy="55563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48" name="Freeform 332">
              <a:extLst>
                <a:ext uri="{FF2B5EF4-FFF2-40B4-BE49-F238E27FC236}">
                  <a16:creationId xmlns:a16="http://schemas.microsoft.com/office/drawing/2014/main" xmlns="" id="{7F54C4AC-0F53-4065-ABF2-5111716292B3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6383338" y="3468688"/>
              <a:ext cx="274637" cy="368300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49" name="Freeform 333">
              <a:extLst>
                <a:ext uri="{FF2B5EF4-FFF2-40B4-BE49-F238E27FC236}">
                  <a16:creationId xmlns:a16="http://schemas.microsoft.com/office/drawing/2014/main" xmlns="" id="{D189563E-6D84-4D29-BAEB-466F7FF6858F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6724650" y="3517900"/>
              <a:ext cx="254000" cy="257175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50" name="Freeform 334">
              <a:extLst>
                <a:ext uri="{FF2B5EF4-FFF2-40B4-BE49-F238E27FC236}">
                  <a16:creationId xmlns:a16="http://schemas.microsoft.com/office/drawing/2014/main" xmlns="" id="{2F4A24EA-07DD-4218-9827-7355F1826CED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7080250" y="3924300"/>
              <a:ext cx="92075" cy="57150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51" name="Freeform 335">
              <a:extLst>
                <a:ext uri="{FF2B5EF4-FFF2-40B4-BE49-F238E27FC236}">
                  <a16:creationId xmlns:a16="http://schemas.microsoft.com/office/drawing/2014/main" xmlns="" id="{E986C38A-B76C-4EE3-9B21-54FF4DF22AEB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7196138" y="3590925"/>
              <a:ext cx="42862" cy="889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52" name="Freeform 336">
              <a:extLst>
                <a:ext uri="{FF2B5EF4-FFF2-40B4-BE49-F238E27FC236}">
                  <a16:creationId xmlns:a16="http://schemas.microsoft.com/office/drawing/2014/main" xmlns="" id="{357D69B2-2FE2-4B01-99F6-2D0624166F68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7208838" y="3735388"/>
              <a:ext cx="71437" cy="55562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53" name="Freeform 337">
              <a:extLst>
                <a:ext uri="{FF2B5EF4-FFF2-40B4-BE49-F238E27FC236}">
                  <a16:creationId xmlns:a16="http://schemas.microsoft.com/office/drawing/2014/main" xmlns="" id="{DF613DE5-5F36-45E1-802F-F31C93603452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285038" y="3659188"/>
              <a:ext cx="85725" cy="63500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54" name="Freeform 338">
              <a:extLst>
                <a:ext uri="{FF2B5EF4-FFF2-40B4-BE49-F238E27FC236}">
                  <a16:creationId xmlns:a16="http://schemas.microsoft.com/office/drawing/2014/main" xmlns="" id="{AFA68E4A-0968-4F23-A315-898CAC116CEC}"/>
                </a:ext>
              </a:extLst>
            </p:cNvPr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6973888" y="3597275"/>
              <a:ext cx="166687" cy="230188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55" name="Freeform 339">
              <a:extLst>
                <a:ext uri="{FF2B5EF4-FFF2-40B4-BE49-F238E27FC236}">
                  <a16:creationId xmlns:a16="http://schemas.microsoft.com/office/drawing/2014/main" xmlns="" id="{26D99A86-C1B7-4864-AEB1-42C307414C78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6638925" y="3838575"/>
              <a:ext cx="250825" cy="95250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56" name="Freeform 340">
              <a:extLst>
                <a:ext uri="{FF2B5EF4-FFF2-40B4-BE49-F238E27FC236}">
                  <a16:creationId xmlns:a16="http://schemas.microsoft.com/office/drawing/2014/main" xmlns="" id="{371C5BC6-F3EF-4B48-8E65-57D3BF0CD64E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7319963" y="3695700"/>
              <a:ext cx="214312" cy="252413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57" name="Freeform 341">
              <a:extLst>
                <a:ext uri="{FF2B5EF4-FFF2-40B4-BE49-F238E27FC236}">
                  <a16:creationId xmlns:a16="http://schemas.microsoft.com/office/drawing/2014/main" xmlns="" id="{8C084574-C78D-432D-BC7C-7ACA3FC2D6D2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5851525" y="2527300"/>
              <a:ext cx="53975" cy="60325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58" name="Freeform 342">
              <a:extLst>
                <a:ext uri="{FF2B5EF4-FFF2-40B4-BE49-F238E27FC236}">
                  <a16:creationId xmlns:a16="http://schemas.microsoft.com/office/drawing/2014/main" xmlns="" id="{03095C49-D68B-4425-A92E-F17ABE124AA3}"/>
                </a:ext>
              </a:extLst>
            </p:cNvPr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308475" y="1931988"/>
              <a:ext cx="220663" cy="177800"/>
            </a:xfrm>
            <a:custGeom>
              <a:avLst/>
              <a:gdLst>
                <a:gd name="T0" fmla="*/ 272 w 505"/>
                <a:gd name="T1" fmla="*/ 36 h 339"/>
                <a:gd name="T2" fmla="*/ 484 w 505"/>
                <a:gd name="T3" fmla="*/ 86 h 339"/>
                <a:gd name="T4" fmla="*/ 478 w 505"/>
                <a:gd name="T5" fmla="*/ 109 h 339"/>
                <a:gd name="T6" fmla="*/ 471 w 505"/>
                <a:gd name="T7" fmla="*/ 129 h 339"/>
                <a:gd name="T8" fmla="*/ 461 w 505"/>
                <a:gd name="T9" fmla="*/ 145 h 339"/>
                <a:gd name="T10" fmla="*/ 451 w 505"/>
                <a:gd name="T11" fmla="*/ 153 h 339"/>
                <a:gd name="T12" fmla="*/ 461 w 505"/>
                <a:gd name="T13" fmla="*/ 184 h 339"/>
                <a:gd name="T14" fmla="*/ 477 w 505"/>
                <a:gd name="T15" fmla="*/ 215 h 339"/>
                <a:gd name="T16" fmla="*/ 505 w 505"/>
                <a:gd name="T17" fmla="*/ 258 h 339"/>
                <a:gd name="T18" fmla="*/ 493 w 505"/>
                <a:gd name="T19" fmla="*/ 271 h 339"/>
                <a:gd name="T20" fmla="*/ 479 w 505"/>
                <a:gd name="T21" fmla="*/ 292 h 339"/>
                <a:gd name="T22" fmla="*/ 468 w 505"/>
                <a:gd name="T23" fmla="*/ 314 h 339"/>
                <a:gd name="T24" fmla="*/ 464 w 505"/>
                <a:gd name="T25" fmla="*/ 339 h 339"/>
                <a:gd name="T26" fmla="*/ 443 w 505"/>
                <a:gd name="T27" fmla="*/ 338 h 339"/>
                <a:gd name="T28" fmla="*/ 414 w 505"/>
                <a:gd name="T29" fmla="*/ 335 h 339"/>
                <a:gd name="T30" fmla="*/ 385 w 505"/>
                <a:gd name="T31" fmla="*/ 331 h 339"/>
                <a:gd name="T32" fmla="*/ 358 w 505"/>
                <a:gd name="T33" fmla="*/ 326 h 339"/>
                <a:gd name="T34" fmla="*/ 304 w 505"/>
                <a:gd name="T35" fmla="*/ 325 h 339"/>
                <a:gd name="T36" fmla="*/ 264 w 505"/>
                <a:gd name="T37" fmla="*/ 321 h 339"/>
                <a:gd name="T38" fmla="*/ 248 w 505"/>
                <a:gd name="T39" fmla="*/ 317 h 339"/>
                <a:gd name="T40" fmla="*/ 232 w 505"/>
                <a:gd name="T41" fmla="*/ 310 h 339"/>
                <a:gd name="T42" fmla="*/ 213 w 505"/>
                <a:gd name="T43" fmla="*/ 300 h 339"/>
                <a:gd name="T44" fmla="*/ 180 w 505"/>
                <a:gd name="T45" fmla="*/ 289 h 339"/>
                <a:gd name="T46" fmla="*/ 146 w 505"/>
                <a:gd name="T47" fmla="*/ 273 h 339"/>
                <a:gd name="T48" fmla="*/ 98 w 505"/>
                <a:gd name="T49" fmla="*/ 249 h 339"/>
                <a:gd name="T50" fmla="*/ 62 w 505"/>
                <a:gd name="T51" fmla="*/ 206 h 339"/>
                <a:gd name="T52" fmla="*/ 52 w 505"/>
                <a:gd name="T53" fmla="*/ 169 h 339"/>
                <a:gd name="T54" fmla="*/ 36 w 505"/>
                <a:gd name="T55" fmla="*/ 124 h 339"/>
                <a:gd name="T56" fmla="*/ 15 w 505"/>
                <a:gd name="T57" fmla="*/ 83 h 339"/>
                <a:gd name="T58" fmla="*/ 2 w 505"/>
                <a:gd name="T59" fmla="*/ 64 h 339"/>
                <a:gd name="T60" fmla="*/ 5 w 505"/>
                <a:gd name="T61" fmla="*/ 61 h 339"/>
                <a:gd name="T62" fmla="*/ 11 w 505"/>
                <a:gd name="T63" fmla="*/ 56 h 339"/>
                <a:gd name="T64" fmla="*/ 11 w 505"/>
                <a:gd name="T65" fmla="*/ 48 h 339"/>
                <a:gd name="T66" fmla="*/ 11 w 505"/>
                <a:gd name="T67" fmla="*/ 43 h 339"/>
                <a:gd name="T68" fmla="*/ 34 w 505"/>
                <a:gd name="T69" fmla="*/ 34 h 339"/>
                <a:gd name="T70" fmla="*/ 73 w 505"/>
                <a:gd name="T71" fmla="*/ 22 h 339"/>
                <a:gd name="T72" fmla="*/ 128 w 505"/>
                <a:gd name="T73" fmla="*/ 8 h 339"/>
                <a:gd name="T74" fmla="*/ 173 w 505"/>
                <a:gd name="T75" fmla="*/ 11 h 339"/>
                <a:gd name="T76" fmla="*/ 188 w 505"/>
                <a:gd name="T77" fmla="*/ 28 h 339"/>
                <a:gd name="T78" fmla="*/ 201 w 505"/>
                <a:gd name="T79" fmla="*/ 35 h 339"/>
                <a:gd name="T80" fmla="*/ 219 w 505"/>
                <a:gd name="T81" fmla="*/ 36 h 339"/>
                <a:gd name="T82" fmla="*/ 239 w 505"/>
                <a:gd name="T83" fmla="*/ 36 h 339"/>
                <a:gd name="T84" fmla="*/ 259 w 505"/>
                <a:gd name="T85" fmla="*/ 24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59" name="Freeform 343">
              <a:extLst>
                <a:ext uri="{FF2B5EF4-FFF2-40B4-BE49-F238E27FC236}">
                  <a16:creationId xmlns:a16="http://schemas.microsoft.com/office/drawing/2014/main" xmlns="" id="{29123B0D-2F2C-4B04-A204-C862EEBB4DD0}"/>
                </a:ext>
              </a:extLst>
            </p:cNvPr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371975" y="2136775"/>
              <a:ext cx="146050" cy="71438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60" name="Freeform 344">
              <a:extLst>
                <a:ext uri="{FF2B5EF4-FFF2-40B4-BE49-F238E27FC236}">
                  <a16:creationId xmlns:a16="http://schemas.microsoft.com/office/drawing/2014/main" xmlns="" id="{DD0EDF8C-FDA2-4B1E-832B-3E466344ED71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471988" y="1792288"/>
              <a:ext cx="111125" cy="65087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61" name="Freeform 345">
              <a:extLst>
                <a:ext uri="{FF2B5EF4-FFF2-40B4-BE49-F238E27FC236}">
                  <a16:creationId xmlns:a16="http://schemas.microsoft.com/office/drawing/2014/main" xmlns="" id="{FBA9288E-C0C4-4EAB-BB81-C85898460E87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484688" y="2139950"/>
              <a:ext cx="179387" cy="142875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62" name="Freeform 346">
              <a:extLst>
                <a:ext uri="{FF2B5EF4-FFF2-40B4-BE49-F238E27FC236}">
                  <a16:creationId xmlns:a16="http://schemas.microsoft.com/office/drawing/2014/main" xmlns="" id="{1366EF94-39C2-4E2D-8317-526A4A7F2A69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2484438" y="3178175"/>
              <a:ext cx="14287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63" name="Freeform 347">
              <a:extLst>
                <a:ext uri="{FF2B5EF4-FFF2-40B4-BE49-F238E27FC236}">
                  <a16:creationId xmlns:a16="http://schemas.microsoft.com/office/drawing/2014/main" xmlns="" id="{4A40385A-4177-49B1-B372-E6B1435FD4A6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589463" y="2132013"/>
              <a:ext cx="85725" cy="79375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64" name="Freeform 348">
              <a:extLst>
                <a:ext uri="{FF2B5EF4-FFF2-40B4-BE49-F238E27FC236}">
                  <a16:creationId xmlns:a16="http://schemas.microsoft.com/office/drawing/2014/main" xmlns="" id="{BEAD591F-69B7-417B-8212-F9DE92194132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4506913" y="2014538"/>
              <a:ext cx="381000" cy="247650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65" name="Freeform 349">
              <a:extLst>
                <a:ext uri="{FF2B5EF4-FFF2-40B4-BE49-F238E27FC236}">
                  <a16:creationId xmlns:a16="http://schemas.microsoft.com/office/drawing/2014/main" xmlns="" id="{AE0D6194-295F-4DCA-AAC5-10526D104497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018088" y="2357438"/>
              <a:ext cx="47625" cy="63500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66" name="Freeform 350">
              <a:extLst>
                <a:ext uri="{FF2B5EF4-FFF2-40B4-BE49-F238E27FC236}">
                  <a16:creationId xmlns:a16="http://schemas.microsoft.com/office/drawing/2014/main" xmlns="" id="{DED9F9BA-01E1-4D8C-86E1-818B2A8D30AC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561013" y="2371725"/>
              <a:ext cx="207962" cy="122238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67" name="Freeform 351">
              <a:extLst>
                <a:ext uri="{FF2B5EF4-FFF2-40B4-BE49-F238E27FC236}">
                  <a16:creationId xmlns:a16="http://schemas.microsoft.com/office/drawing/2014/main" xmlns="" id="{43DBDB5D-8037-4ED5-9ED0-3164E9DCADBC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5610225" y="2300288"/>
              <a:ext cx="225425" cy="125412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68" name="Freeform 352">
              <a:extLst>
                <a:ext uri="{FF2B5EF4-FFF2-40B4-BE49-F238E27FC236}">
                  <a16:creationId xmlns:a16="http://schemas.microsoft.com/office/drawing/2014/main" xmlns="" id="{1D708DA8-0148-4222-A160-BF49E1E9E572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5216525" y="2316163"/>
              <a:ext cx="342900" cy="227012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69" name="Freeform 353">
              <a:extLst>
                <a:ext uri="{FF2B5EF4-FFF2-40B4-BE49-F238E27FC236}">
                  <a16:creationId xmlns:a16="http://schemas.microsoft.com/office/drawing/2014/main" xmlns="" id="{790CB2E6-5862-43A9-8CEC-AF7D5854A0DF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425950" y="2203450"/>
              <a:ext cx="107950" cy="149225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70" name="Freeform 354">
              <a:extLst>
                <a:ext uri="{FF2B5EF4-FFF2-40B4-BE49-F238E27FC236}">
                  <a16:creationId xmlns:a16="http://schemas.microsoft.com/office/drawing/2014/main" xmlns="" id="{35CB1C10-CEF1-4A56-B99A-DFDCAAE804EA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473575" y="2311400"/>
              <a:ext cx="68263" cy="60325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71" name="Freeform 355">
              <a:extLst>
                <a:ext uri="{FF2B5EF4-FFF2-40B4-BE49-F238E27FC236}">
                  <a16:creationId xmlns:a16="http://schemas.microsoft.com/office/drawing/2014/main" xmlns="" id="{B4C934E5-25F6-4E7F-B0F7-493DD415C270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72" name="Freeform 356">
              <a:extLst>
                <a:ext uri="{FF2B5EF4-FFF2-40B4-BE49-F238E27FC236}">
                  <a16:creationId xmlns:a16="http://schemas.microsoft.com/office/drawing/2014/main" xmlns="" id="{4EF9261B-FB01-499A-A9EB-4F9D7AE1CB7E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041900" y="3275013"/>
              <a:ext cx="244475" cy="431800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73" name="Freeform 357">
              <a:extLst>
                <a:ext uri="{FF2B5EF4-FFF2-40B4-BE49-F238E27FC236}">
                  <a16:creationId xmlns:a16="http://schemas.microsoft.com/office/drawing/2014/main" xmlns="" id="{85E16C8A-75C6-4137-950D-C5947C2AB87F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049838" y="3262313"/>
              <a:ext cx="38100" cy="58737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74" name="Freeform 358">
              <a:extLst>
                <a:ext uri="{FF2B5EF4-FFF2-40B4-BE49-F238E27FC236}">
                  <a16:creationId xmlns:a16="http://schemas.microsoft.com/office/drawing/2014/main" xmlns="" id="{104990C9-C61D-4A8C-BAF2-F2FF9BEAD9E8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848225" y="3173413"/>
              <a:ext cx="363538" cy="376237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75" name="Line 359">
              <a:extLst>
                <a:ext uri="{FF2B5EF4-FFF2-40B4-BE49-F238E27FC236}">
                  <a16:creationId xmlns:a16="http://schemas.microsoft.com/office/drawing/2014/main" xmlns="" id="{E92C9CD0-F415-4672-B252-EBDA77DBF6EC}"/>
                </a:ext>
              </a:extLst>
            </p:cNvPr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1708150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76" name="Freeform 360">
              <a:extLst>
                <a:ext uri="{FF2B5EF4-FFF2-40B4-BE49-F238E27FC236}">
                  <a16:creationId xmlns:a16="http://schemas.microsoft.com/office/drawing/2014/main" xmlns="" id="{5F2E1034-F532-4EAB-9F04-842826437D08}"/>
                </a:ext>
              </a:extLst>
            </p:cNvPr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1708150" y="3700463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77" name="Freeform 361">
              <a:extLst>
                <a:ext uri="{FF2B5EF4-FFF2-40B4-BE49-F238E27FC236}">
                  <a16:creationId xmlns:a16="http://schemas.microsoft.com/office/drawing/2014/main" xmlns="" id="{B28200D5-0560-48AF-92F2-D8F3257E83B0}"/>
                </a:ext>
              </a:extLst>
            </p:cNvPr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716088" y="3687763"/>
              <a:ext cx="4762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grpSp>
          <p:nvGrpSpPr>
            <p:cNvPr id="278" name="Group 362">
              <a:extLst>
                <a:ext uri="{FF2B5EF4-FFF2-40B4-BE49-F238E27FC236}">
                  <a16:creationId xmlns:a16="http://schemas.microsoft.com/office/drawing/2014/main" xmlns="" id="{4462A2D6-798D-4030-8AD4-70E960EA976D}"/>
                </a:ext>
              </a:extLst>
            </p:cNvPr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1708150" y="3622675"/>
              <a:ext cx="417513" cy="201613"/>
              <a:chOff x="912" y="2626"/>
              <a:chExt cx="311" cy="127"/>
            </a:xfrm>
          </p:grpSpPr>
          <p:sp>
            <p:nvSpPr>
              <p:cNvPr id="464" name="Freeform 363">
                <a:extLst>
                  <a:ext uri="{FF2B5EF4-FFF2-40B4-BE49-F238E27FC236}">
                    <a16:creationId xmlns:a16="http://schemas.microsoft.com/office/drawing/2014/main" xmlns="" id="{E11980CE-9B6F-47AC-9DF4-246B7A1A13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00B05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65" name="Freeform 364">
                <a:extLst>
                  <a:ext uri="{FF2B5EF4-FFF2-40B4-BE49-F238E27FC236}">
                    <a16:creationId xmlns:a16="http://schemas.microsoft.com/office/drawing/2014/main" xmlns="" id="{53A1A91F-1821-4514-B3FB-7F90E8AA83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66" name="Freeform 365">
                <a:extLst>
                  <a:ext uri="{FF2B5EF4-FFF2-40B4-BE49-F238E27FC236}">
                    <a16:creationId xmlns:a16="http://schemas.microsoft.com/office/drawing/2014/main" xmlns="" id="{848FF8B0-2CC8-4CB2-8F0B-15F1A05C24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</p:grpSp>
        <p:sp>
          <p:nvSpPr>
            <p:cNvPr id="279" name="Freeform 366">
              <a:extLst>
                <a:ext uri="{FF2B5EF4-FFF2-40B4-BE49-F238E27FC236}">
                  <a16:creationId xmlns:a16="http://schemas.microsoft.com/office/drawing/2014/main" xmlns="" id="{2915E2C1-548E-4439-91E7-EC1863038C31}"/>
                </a:ext>
              </a:extLst>
            </p:cNvPr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5356225" y="4340225"/>
              <a:ext cx="19050" cy="5873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80" name="Freeform 367">
              <a:extLst>
                <a:ext uri="{FF2B5EF4-FFF2-40B4-BE49-F238E27FC236}">
                  <a16:creationId xmlns:a16="http://schemas.microsoft.com/office/drawing/2014/main" xmlns="" id="{9BFD49C7-86BD-4245-BA81-4E9BCB446F8C}"/>
                </a:ext>
              </a:extLst>
            </p:cNvPr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5327650" y="4367213"/>
              <a:ext cx="23813" cy="57150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grpSp>
          <p:nvGrpSpPr>
            <p:cNvPr id="281" name="Group 368">
              <a:extLst>
                <a:ext uri="{FF2B5EF4-FFF2-40B4-BE49-F238E27FC236}">
                  <a16:creationId xmlns:a16="http://schemas.microsoft.com/office/drawing/2014/main" xmlns="" id="{B87F38EA-5A79-489D-95A4-BEE37E158D7D}"/>
                </a:ext>
              </a:extLst>
            </p:cNvPr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5168900" y="3859213"/>
              <a:ext cx="168275" cy="103187"/>
              <a:chOff x="3481" y="2773"/>
              <a:chExt cx="125" cy="65"/>
            </a:xfrm>
          </p:grpSpPr>
          <p:sp>
            <p:nvSpPr>
              <p:cNvPr id="453" name="Freeform 369">
                <a:extLst>
                  <a:ext uri="{FF2B5EF4-FFF2-40B4-BE49-F238E27FC236}">
                    <a16:creationId xmlns:a16="http://schemas.microsoft.com/office/drawing/2014/main" xmlns="" id="{A7514AC3-54BE-4C42-B68A-6A0BB036F1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54" name="Line 370">
                <a:extLst>
                  <a:ext uri="{FF2B5EF4-FFF2-40B4-BE49-F238E27FC236}">
                    <a16:creationId xmlns:a16="http://schemas.microsoft.com/office/drawing/2014/main" xmlns="" id="{765153E7-DE1D-43E5-BB12-E75D66F9E5F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55" name="Freeform 371">
                <a:extLst>
                  <a:ext uri="{FF2B5EF4-FFF2-40B4-BE49-F238E27FC236}">
                    <a16:creationId xmlns:a16="http://schemas.microsoft.com/office/drawing/2014/main" xmlns="" id="{7280C723-C570-47CB-A32B-9EF0F4E151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56" name="Freeform 372">
                <a:extLst>
                  <a:ext uri="{FF2B5EF4-FFF2-40B4-BE49-F238E27FC236}">
                    <a16:creationId xmlns:a16="http://schemas.microsoft.com/office/drawing/2014/main" xmlns="" id="{FADEE44E-8392-4ED8-8F78-DF484029EB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57" name="Freeform 373">
                <a:extLst>
                  <a:ext uri="{FF2B5EF4-FFF2-40B4-BE49-F238E27FC236}">
                    <a16:creationId xmlns:a16="http://schemas.microsoft.com/office/drawing/2014/main" xmlns="" id="{1E131E30-B86A-4EB6-98E9-9DDBB3E79A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58" name="Line 374">
                <a:extLst>
                  <a:ext uri="{FF2B5EF4-FFF2-40B4-BE49-F238E27FC236}">
                    <a16:creationId xmlns:a16="http://schemas.microsoft.com/office/drawing/2014/main" xmlns="" id="{E279E6EB-6679-4E4A-ACC7-9612E57948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59" name="Freeform 375">
                <a:extLst>
                  <a:ext uri="{FF2B5EF4-FFF2-40B4-BE49-F238E27FC236}">
                    <a16:creationId xmlns:a16="http://schemas.microsoft.com/office/drawing/2014/main" xmlns="" id="{50CCDF90-0F70-4DB3-9629-4482DB8E1D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60" name="Freeform 376">
                <a:extLst>
                  <a:ext uri="{FF2B5EF4-FFF2-40B4-BE49-F238E27FC236}">
                    <a16:creationId xmlns:a16="http://schemas.microsoft.com/office/drawing/2014/main" xmlns="" id="{C86EE2F2-0520-4AED-B9F5-2A53A1FEF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61" name="Freeform 377">
                <a:extLst>
                  <a:ext uri="{FF2B5EF4-FFF2-40B4-BE49-F238E27FC236}">
                    <a16:creationId xmlns:a16="http://schemas.microsoft.com/office/drawing/2014/main" xmlns="" id="{C801AFC9-8443-4BDA-B5DE-8F7583C274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62" name="Freeform 378">
                <a:extLst>
                  <a:ext uri="{FF2B5EF4-FFF2-40B4-BE49-F238E27FC236}">
                    <a16:creationId xmlns:a16="http://schemas.microsoft.com/office/drawing/2014/main" xmlns="" id="{2DF8A46E-E0E6-46D3-97F3-967B9CA63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63" name="Freeform 379">
                <a:extLst>
                  <a:ext uri="{FF2B5EF4-FFF2-40B4-BE49-F238E27FC236}">
                    <a16:creationId xmlns:a16="http://schemas.microsoft.com/office/drawing/2014/main" xmlns="" id="{1BAEA855-F073-4CBC-9564-0B9B0B3BD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</p:grpSp>
        <p:sp>
          <p:nvSpPr>
            <p:cNvPr id="282" name="Freeform 380">
              <a:extLst>
                <a:ext uri="{FF2B5EF4-FFF2-40B4-BE49-F238E27FC236}">
                  <a16:creationId xmlns:a16="http://schemas.microsoft.com/office/drawing/2014/main" xmlns="" id="{A6FB2BE1-CD1E-4913-BCCA-3A23792D2289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297363" y="3851275"/>
              <a:ext cx="319087" cy="379413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83" name="Freeform 381">
              <a:extLst>
                <a:ext uri="{FF2B5EF4-FFF2-40B4-BE49-F238E27FC236}">
                  <a16:creationId xmlns:a16="http://schemas.microsoft.com/office/drawing/2014/main" xmlns="" id="{CD1F93FF-96E1-42AF-BF0F-EA99D8587D98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308475" y="3824288"/>
              <a:ext cx="15875" cy="60325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84" name="Freeform 382">
              <a:extLst>
                <a:ext uri="{FF2B5EF4-FFF2-40B4-BE49-F238E27FC236}">
                  <a16:creationId xmlns:a16="http://schemas.microsoft.com/office/drawing/2014/main" xmlns="" id="{BF67B89B-3DD9-46DF-B7AB-A89ED3689980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410075" y="4367213"/>
              <a:ext cx="396875" cy="398462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85" name="Freeform 383">
              <a:extLst>
                <a:ext uri="{FF2B5EF4-FFF2-40B4-BE49-F238E27FC236}">
                  <a16:creationId xmlns:a16="http://schemas.microsoft.com/office/drawing/2014/main" xmlns="" id="{1D9610DE-838C-4E0C-873C-B196CE7566E3}"/>
                </a:ext>
              </a:extLst>
            </p:cNvPr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grpSp>
          <p:nvGrpSpPr>
            <p:cNvPr id="286" name="Group 384">
              <a:extLst>
                <a:ext uri="{FF2B5EF4-FFF2-40B4-BE49-F238E27FC236}">
                  <a16:creationId xmlns:a16="http://schemas.microsoft.com/office/drawing/2014/main" xmlns="" id="{B320351C-A38A-4D87-BC21-29B6D85E6E84}"/>
                </a:ext>
              </a:extLst>
            </p:cNvPr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3341688" y="3136900"/>
              <a:ext cx="80962" cy="82550"/>
              <a:chOff x="2352" y="2343"/>
              <a:chExt cx="65" cy="53"/>
            </a:xfrm>
          </p:grpSpPr>
          <p:sp>
            <p:nvSpPr>
              <p:cNvPr id="447" name="Freeform 385">
                <a:extLst>
                  <a:ext uri="{FF2B5EF4-FFF2-40B4-BE49-F238E27FC236}">
                    <a16:creationId xmlns:a16="http://schemas.microsoft.com/office/drawing/2014/main" xmlns="" id="{207CA1D0-6331-4D01-8461-C40AA8B01A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48" name="Freeform 386">
                <a:extLst>
                  <a:ext uri="{FF2B5EF4-FFF2-40B4-BE49-F238E27FC236}">
                    <a16:creationId xmlns:a16="http://schemas.microsoft.com/office/drawing/2014/main" xmlns="" id="{7781A412-3E38-4322-91D0-31011D85F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49" name="Freeform 387">
                <a:extLst>
                  <a:ext uri="{FF2B5EF4-FFF2-40B4-BE49-F238E27FC236}">
                    <a16:creationId xmlns:a16="http://schemas.microsoft.com/office/drawing/2014/main" xmlns="" id="{726EFF51-4BCD-4C83-BB4B-44AA594497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50" name="Freeform 388">
                <a:extLst>
                  <a:ext uri="{FF2B5EF4-FFF2-40B4-BE49-F238E27FC236}">
                    <a16:creationId xmlns:a16="http://schemas.microsoft.com/office/drawing/2014/main" xmlns="" id="{ABC39D4D-0A15-46F3-BE36-732882379D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51" name="Freeform 389">
                <a:extLst>
                  <a:ext uri="{FF2B5EF4-FFF2-40B4-BE49-F238E27FC236}">
                    <a16:creationId xmlns:a16="http://schemas.microsoft.com/office/drawing/2014/main" xmlns="" id="{38D93F68-5781-4A5C-92F3-61108777FF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52" name="Freeform 390">
                <a:extLst>
                  <a:ext uri="{FF2B5EF4-FFF2-40B4-BE49-F238E27FC236}">
                    <a16:creationId xmlns:a16="http://schemas.microsoft.com/office/drawing/2014/main" xmlns="" id="{03EACAB7-182D-4C5F-A221-E21DD13F44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</p:grpSp>
        <p:grpSp>
          <p:nvGrpSpPr>
            <p:cNvPr id="287" name="Group 391">
              <a:extLst>
                <a:ext uri="{FF2B5EF4-FFF2-40B4-BE49-F238E27FC236}">
                  <a16:creationId xmlns:a16="http://schemas.microsoft.com/office/drawing/2014/main" xmlns="" id="{F8D47280-35E1-4BD9-AAD8-67AE0F6EE801}"/>
                </a:ext>
              </a:extLst>
            </p:cNvPr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1187450" y="1196975"/>
              <a:ext cx="1897063" cy="1133475"/>
              <a:chOff x="527" y="1110"/>
              <a:chExt cx="1410" cy="709"/>
            </a:xfrm>
          </p:grpSpPr>
          <p:sp>
            <p:nvSpPr>
              <p:cNvPr id="405" name="Freeform 392">
                <a:extLst>
                  <a:ext uri="{FF2B5EF4-FFF2-40B4-BE49-F238E27FC236}">
                    <a16:creationId xmlns:a16="http://schemas.microsoft.com/office/drawing/2014/main" xmlns="" id="{608118D9-B6DD-43C8-83B7-85301F3CD2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06" name="Freeform 393">
                <a:extLst>
                  <a:ext uri="{FF2B5EF4-FFF2-40B4-BE49-F238E27FC236}">
                    <a16:creationId xmlns:a16="http://schemas.microsoft.com/office/drawing/2014/main" xmlns="" id="{77B38743-01BB-4D60-A989-17A48F05FC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07" name="Freeform 394">
                <a:extLst>
                  <a:ext uri="{FF2B5EF4-FFF2-40B4-BE49-F238E27FC236}">
                    <a16:creationId xmlns:a16="http://schemas.microsoft.com/office/drawing/2014/main" xmlns="" id="{EC992716-BD73-4808-AD45-B3FC72D482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08" name="Freeform 395">
                <a:extLst>
                  <a:ext uri="{FF2B5EF4-FFF2-40B4-BE49-F238E27FC236}">
                    <a16:creationId xmlns:a16="http://schemas.microsoft.com/office/drawing/2014/main" xmlns="" id="{585F7725-F586-4D23-9411-0F7AF70BB3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09" name="Freeform 396">
                <a:extLst>
                  <a:ext uri="{FF2B5EF4-FFF2-40B4-BE49-F238E27FC236}">
                    <a16:creationId xmlns:a16="http://schemas.microsoft.com/office/drawing/2014/main" xmlns="" id="{16F41B02-90BC-4A6A-95B4-4D28E6B3B3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10" name="Freeform 397">
                <a:extLst>
                  <a:ext uri="{FF2B5EF4-FFF2-40B4-BE49-F238E27FC236}">
                    <a16:creationId xmlns:a16="http://schemas.microsoft.com/office/drawing/2014/main" xmlns="" id="{0BC7C249-C09E-4378-B93B-2533064041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11" name="Freeform 398">
                <a:extLst>
                  <a:ext uri="{FF2B5EF4-FFF2-40B4-BE49-F238E27FC236}">
                    <a16:creationId xmlns:a16="http://schemas.microsoft.com/office/drawing/2014/main" xmlns="" id="{D2BAD959-F4FC-4CD6-9231-7B233F2BDB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12" name="Freeform 399">
                <a:extLst>
                  <a:ext uri="{FF2B5EF4-FFF2-40B4-BE49-F238E27FC236}">
                    <a16:creationId xmlns:a16="http://schemas.microsoft.com/office/drawing/2014/main" xmlns="" id="{D0E65F46-59FD-4258-AD8A-D930EE35FF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13" name="Freeform 400">
                <a:extLst>
                  <a:ext uri="{FF2B5EF4-FFF2-40B4-BE49-F238E27FC236}">
                    <a16:creationId xmlns:a16="http://schemas.microsoft.com/office/drawing/2014/main" xmlns="" id="{A5551BEB-725A-4C42-AE4A-F6EB86E20E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14" name="Freeform 401">
                <a:extLst>
                  <a:ext uri="{FF2B5EF4-FFF2-40B4-BE49-F238E27FC236}">
                    <a16:creationId xmlns:a16="http://schemas.microsoft.com/office/drawing/2014/main" xmlns="" id="{7C4EFAAD-476A-4A87-A701-53B63077BC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15" name="Freeform 402">
                <a:extLst>
                  <a:ext uri="{FF2B5EF4-FFF2-40B4-BE49-F238E27FC236}">
                    <a16:creationId xmlns:a16="http://schemas.microsoft.com/office/drawing/2014/main" xmlns="" id="{0F05D60C-FF6F-4ED4-A17B-F287129B26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16" name="Freeform 403">
                <a:extLst>
                  <a:ext uri="{FF2B5EF4-FFF2-40B4-BE49-F238E27FC236}">
                    <a16:creationId xmlns:a16="http://schemas.microsoft.com/office/drawing/2014/main" xmlns="" id="{E53EC97C-4D7A-48F6-BC22-DFD49BC22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17" name="Freeform 404">
                <a:extLst>
                  <a:ext uri="{FF2B5EF4-FFF2-40B4-BE49-F238E27FC236}">
                    <a16:creationId xmlns:a16="http://schemas.microsoft.com/office/drawing/2014/main" xmlns="" id="{5A716A27-9117-4B3F-94EF-77C3357C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18" name="Freeform 405">
                <a:extLst>
                  <a:ext uri="{FF2B5EF4-FFF2-40B4-BE49-F238E27FC236}">
                    <a16:creationId xmlns:a16="http://schemas.microsoft.com/office/drawing/2014/main" xmlns="" id="{AD43D17A-1188-452D-8605-37E34BB28A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19" name="Freeform 406">
                <a:extLst>
                  <a:ext uri="{FF2B5EF4-FFF2-40B4-BE49-F238E27FC236}">
                    <a16:creationId xmlns:a16="http://schemas.microsoft.com/office/drawing/2014/main" xmlns="" id="{643FEC69-B125-443C-B700-342FF84AF8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20" name="Freeform 407">
                <a:extLst>
                  <a:ext uri="{FF2B5EF4-FFF2-40B4-BE49-F238E27FC236}">
                    <a16:creationId xmlns:a16="http://schemas.microsoft.com/office/drawing/2014/main" xmlns="" id="{75724A9C-4408-4501-B099-79B2325CC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21" name="Freeform 408">
                <a:extLst>
                  <a:ext uri="{FF2B5EF4-FFF2-40B4-BE49-F238E27FC236}">
                    <a16:creationId xmlns:a16="http://schemas.microsoft.com/office/drawing/2014/main" xmlns="" id="{28212F2E-543F-4CBE-89E6-DDB8B1B36B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22" name="Freeform 409">
                <a:extLst>
                  <a:ext uri="{FF2B5EF4-FFF2-40B4-BE49-F238E27FC236}">
                    <a16:creationId xmlns:a16="http://schemas.microsoft.com/office/drawing/2014/main" xmlns="" id="{CC96E762-9DD0-48CF-B874-6D29EA4324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23" name="Freeform 410">
                <a:extLst>
                  <a:ext uri="{FF2B5EF4-FFF2-40B4-BE49-F238E27FC236}">
                    <a16:creationId xmlns:a16="http://schemas.microsoft.com/office/drawing/2014/main" xmlns="" id="{910B9F9F-5A61-466C-8CFB-72F28FFDDC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24" name="Freeform 411">
                <a:extLst>
                  <a:ext uri="{FF2B5EF4-FFF2-40B4-BE49-F238E27FC236}">
                    <a16:creationId xmlns:a16="http://schemas.microsoft.com/office/drawing/2014/main" xmlns="" id="{A0FA7B5A-EA63-4C09-BC8A-C89D2928EF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25" name="Freeform 412">
                <a:extLst>
                  <a:ext uri="{FF2B5EF4-FFF2-40B4-BE49-F238E27FC236}">
                    <a16:creationId xmlns:a16="http://schemas.microsoft.com/office/drawing/2014/main" xmlns="" id="{4CC81033-F0FB-484B-9482-5CAAF42B30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26" name="Freeform 413">
                <a:extLst>
                  <a:ext uri="{FF2B5EF4-FFF2-40B4-BE49-F238E27FC236}">
                    <a16:creationId xmlns:a16="http://schemas.microsoft.com/office/drawing/2014/main" xmlns="" id="{D0E8F8F7-C99D-42D9-9367-CD545068B0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27" name="Freeform 414">
                <a:extLst>
                  <a:ext uri="{FF2B5EF4-FFF2-40B4-BE49-F238E27FC236}">
                    <a16:creationId xmlns:a16="http://schemas.microsoft.com/office/drawing/2014/main" xmlns="" id="{D75EB714-B443-4C8D-91F7-04AB07091A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28" name="Freeform 415">
                <a:extLst>
                  <a:ext uri="{FF2B5EF4-FFF2-40B4-BE49-F238E27FC236}">
                    <a16:creationId xmlns:a16="http://schemas.microsoft.com/office/drawing/2014/main" xmlns="" id="{7C54A97E-10C1-48BE-A8B7-D4270E04AD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29" name="Freeform 416">
                <a:extLst>
                  <a:ext uri="{FF2B5EF4-FFF2-40B4-BE49-F238E27FC236}">
                    <a16:creationId xmlns:a16="http://schemas.microsoft.com/office/drawing/2014/main" xmlns="" id="{F42C8599-9EEF-4D6E-8C49-259D2C43BE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30" name="Freeform 417">
                <a:extLst>
                  <a:ext uri="{FF2B5EF4-FFF2-40B4-BE49-F238E27FC236}">
                    <a16:creationId xmlns:a16="http://schemas.microsoft.com/office/drawing/2014/main" xmlns="" id="{FBDF196F-5A8F-4FBD-9923-A2661F98C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31" name="Freeform 418">
                <a:extLst>
                  <a:ext uri="{FF2B5EF4-FFF2-40B4-BE49-F238E27FC236}">
                    <a16:creationId xmlns:a16="http://schemas.microsoft.com/office/drawing/2014/main" xmlns="" id="{18AEABE2-0495-4CEE-9221-74968A0658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32" name="Freeform 419">
                <a:extLst>
                  <a:ext uri="{FF2B5EF4-FFF2-40B4-BE49-F238E27FC236}">
                    <a16:creationId xmlns:a16="http://schemas.microsoft.com/office/drawing/2014/main" xmlns="" id="{F72883E7-79FE-4A30-9058-D460C189BA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33" name="Freeform 420">
                <a:extLst>
                  <a:ext uri="{FF2B5EF4-FFF2-40B4-BE49-F238E27FC236}">
                    <a16:creationId xmlns:a16="http://schemas.microsoft.com/office/drawing/2014/main" xmlns="" id="{0A3039F7-1B07-40C9-97D3-FF369426E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34" name="Freeform 421">
                <a:extLst>
                  <a:ext uri="{FF2B5EF4-FFF2-40B4-BE49-F238E27FC236}">
                    <a16:creationId xmlns:a16="http://schemas.microsoft.com/office/drawing/2014/main" xmlns="" id="{D3993AC2-E886-4ADC-BFC1-EC6941E791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35" name="Freeform 422">
                <a:extLst>
                  <a:ext uri="{FF2B5EF4-FFF2-40B4-BE49-F238E27FC236}">
                    <a16:creationId xmlns:a16="http://schemas.microsoft.com/office/drawing/2014/main" xmlns="" id="{49F9CFD1-E6E0-4ABE-9E4C-5CB023F01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36" name="Freeform 423">
                <a:extLst>
                  <a:ext uri="{FF2B5EF4-FFF2-40B4-BE49-F238E27FC236}">
                    <a16:creationId xmlns:a16="http://schemas.microsoft.com/office/drawing/2014/main" xmlns="" id="{B1F1AF06-161F-44D1-9516-40B768D2EB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37" name="Freeform 424">
                <a:extLst>
                  <a:ext uri="{FF2B5EF4-FFF2-40B4-BE49-F238E27FC236}">
                    <a16:creationId xmlns:a16="http://schemas.microsoft.com/office/drawing/2014/main" xmlns="" id="{5E796528-4E2D-49B2-AD84-B0ECDAD648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38" name="Freeform 425">
                <a:extLst>
                  <a:ext uri="{FF2B5EF4-FFF2-40B4-BE49-F238E27FC236}">
                    <a16:creationId xmlns:a16="http://schemas.microsoft.com/office/drawing/2014/main" xmlns="" id="{20C1DD9C-7D8D-4A02-A908-B197C54AC6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39" name="Freeform 426">
                <a:extLst>
                  <a:ext uri="{FF2B5EF4-FFF2-40B4-BE49-F238E27FC236}">
                    <a16:creationId xmlns:a16="http://schemas.microsoft.com/office/drawing/2014/main" xmlns="" id="{ADA0997C-2901-4BAE-B458-C83F9424A4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40" name="Freeform 427">
                <a:extLst>
                  <a:ext uri="{FF2B5EF4-FFF2-40B4-BE49-F238E27FC236}">
                    <a16:creationId xmlns:a16="http://schemas.microsoft.com/office/drawing/2014/main" xmlns="" id="{FC0D6A5A-70D6-4525-8C6A-95FB367D1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41" name="Freeform 428">
                <a:extLst>
                  <a:ext uri="{FF2B5EF4-FFF2-40B4-BE49-F238E27FC236}">
                    <a16:creationId xmlns:a16="http://schemas.microsoft.com/office/drawing/2014/main" xmlns="" id="{F2DE4C06-B947-427A-AECA-4B01D84B5A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42" name="Freeform 429">
                <a:extLst>
                  <a:ext uri="{FF2B5EF4-FFF2-40B4-BE49-F238E27FC236}">
                    <a16:creationId xmlns:a16="http://schemas.microsoft.com/office/drawing/2014/main" xmlns="" id="{5E32CA4B-B105-493C-9C98-DDB56FFF3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43" name="Freeform 430">
                <a:extLst>
                  <a:ext uri="{FF2B5EF4-FFF2-40B4-BE49-F238E27FC236}">
                    <a16:creationId xmlns:a16="http://schemas.microsoft.com/office/drawing/2014/main" xmlns="" id="{1E12F506-D80B-4102-AD3C-ADFA71CA3D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44" name="Freeform 431">
                <a:extLst>
                  <a:ext uri="{FF2B5EF4-FFF2-40B4-BE49-F238E27FC236}">
                    <a16:creationId xmlns:a16="http://schemas.microsoft.com/office/drawing/2014/main" xmlns="" id="{73705E13-CAA1-4AD5-8A80-68E3E2F5E5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45" name="Freeform 432">
                <a:extLst>
                  <a:ext uri="{FF2B5EF4-FFF2-40B4-BE49-F238E27FC236}">
                    <a16:creationId xmlns:a16="http://schemas.microsoft.com/office/drawing/2014/main" xmlns="" id="{8679C4CC-7459-4E77-BE8E-B0FC67BF49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46" name="Freeform 433">
                <a:extLst>
                  <a:ext uri="{FF2B5EF4-FFF2-40B4-BE49-F238E27FC236}">
                    <a16:creationId xmlns:a16="http://schemas.microsoft.com/office/drawing/2014/main" xmlns="" id="{8CF4DB4D-BCB7-4071-958B-8D1AE2DFF2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</p:grpSp>
        <p:sp>
          <p:nvSpPr>
            <p:cNvPr id="288" name="Freeform 434">
              <a:extLst>
                <a:ext uri="{FF2B5EF4-FFF2-40B4-BE49-F238E27FC236}">
                  <a16:creationId xmlns:a16="http://schemas.microsoft.com/office/drawing/2014/main" xmlns="" id="{D4F722BE-64B6-4DFD-BA0C-5AD199CB000D}"/>
                </a:ext>
              </a:extLst>
            </p:cNvPr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757738" y="3541713"/>
              <a:ext cx="127000" cy="158750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89" name="Freeform 435">
              <a:extLst>
                <a:ext uri="{FF2B5EF4-FFF2-40B4-BE49-F238E27FC236}">
                  <a16:creationId xmlns:a16="http://schemas.microsoft.com/office/drawing/2014/main" xmlns="" id="{AACA8E5C-52C3-4C3F-92C2-11A3B2BB95F9}"/>
                </a:ext>
              </a:extLst>
            </p:cNvPr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864100" y="3692525"/>
              <a:ext cx="6350" cy="57150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90" name="Freeform 436">
              <a:extLst>
                <a:ext uri="{FF2B5EF4-FFF2-40B4-BE49-F238E27FC236}">
                  <a16:creationId xmlns:a16="http://schemas.microsoft.com/office/drawing/2014/main" xmlns="" id="{5D2F3AA6-9CA6-4602-8A80-BB53344353CA}"/>
                </a:ext>
              </a:extLst>
            </p:cNvPr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354513" y="2928938"/>
              <a:ext cx="249237" cy="500062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91" name="Freeform 437">
              <a:extLst>
                <a:ext uri="{FF2B5EF4-FFF2-40B4-BE49-F238E27FC236}">
                  <a16:creationId xmlns:a16="http://schemas.microsoft.com/office/drawing/2014/main" xmlns="" id="{A68F6107-856A-45DC-8B69-DBB4A7875749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030663" y="2311400"/>
              <a:ext cx="15875" cy="5715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grpSp>
          <p:nvGrpSpPr>
            <p:cNvPr id="292" name="Group 438">
              <a:extLst>
                <a:ext uri="{FF2B5EF4-FFF2-40B4-BE49-F238E27FC236}">
                  <a16:creationId xmlns:a16="http://schemas.microsoft.com/office/drawing/2014/main" xmlns="" id="{840BBC5A-1DFF-42C8-AD07-976DFFB7DA84}"/>
                </a:ext>
              </a:extLst>
            </p:cNvPr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2330450" y="4371975"/>
              <a:ext cx="384175" cy="1031875"/>
              <a:chOff x="1589" y="3126"/>
              <a:chExt cx="290" cy="657"/>
            </a:xfrm>
          </p:grpSpPr>
          <p:sp>
            <p:nvSpPr>
              <p:cNvPr id="402" name="Freeform 439">
                <a:extLst>
                  <a:ext uri="{FF2B5EF4-FFF2-40B4-BE49-F238E27FC236}">
                    <a16:creationId xmlns:a16="http://schemas.microsoft.com/office/drawing/2014/main" xmlns="" id="{69C7F35F-47F4-4A23-952F-D68C015CBE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03" name="Freeform 440">
                <a:extLst>
                  <a:ext uri="{FF2B5EF4-FFF2-40B4-BE49-F238E27FC236}">
                    <a16:creationId xmlns:a16="http://schemas.microsoft.com/office/drawing/2014/main" xmlns="" id="{B67ED749-6DF4-4ABF-9512-EEB61DBF4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04" name="Freeform 441">
                <a:extLst>
                  <a:ext uri="{FF2B5EF4-FFF2-40B4-BE49-F238E27FC236}">
                    <a16:creationId xmlns:a16="http://schemas.microsoft.com/office/drawing/2014/main" xmlns="" id="{667A99F9-87B6-4528-8474-C77DD4CEC5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</p:grpSp>
        <p:sp>
          <p:nvSpPr>
            <p:cNvPr id="293" name="Freeform 442">
              <a:extLst>
                <a:ext uri="{FF2B5EF4-FFF2-40B4-BE49-F238E27FC236}">
                  <a16:creationId xmlns:a16="http://schemas.microsoft.com/office/drawing/2014/main" xmlns="" id="{A27297C9-4844-44C1-9315-4CB053879921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5040313" y="2324100"/>
              <a:ext cx="123825" cy="109538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94" name="Freeform 443">
              <a:extLst>
                <a:ext uri="{FF2B5EF4-FFF2-40B4-BE49-F238E27FC236}">
                  <a16:creationId xmlns:a16="http://schemas.microsoft.com/office/drawing/2014/main" xmlns="" id="{8B9015DD-39AA-4F2B-A1CD-87B6E54B47D1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506913" y="1897063"/>
              <a:ext cx="209550" cy="150812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95" name="Freeform 444">
              <a:extLst>
                <a:ext uri="{FF2B5EF4-FFF2-40B4-BE49-F238E27FC236}">
                  <a16:creationId xmlns:a16="http://schemas.microsoft.com/office/drawing/2014/main" xmlns="" id="{1BAA5758-193E-4195-AFCD-19378AECC94D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364038" y="2228850"/>
              <a:ext cx="82550" cy="87313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96" name="Freeform 445">
              <a:extLst>
                <a:ext uri="{FF2B5EF4-FFF2-40B4-BE49-F238E27FC236}">
                  <a16:creationId xmlns:a16="http://schemas.microsoft.com/office/drawing/2014/main" xmlns="" id="{A87254D1-43D4-4AB2-9219-5EA529B633E5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2728913" y="3665538"/>
              <a:ext cx="82550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97" name="Freeform 446">
              <a:extLst>
                <a:ext uri="{FF2B5EF4-FFF2-40B4-BE49-F238E27FC236}">
                  <a16:creationId xmlns:a16="http://schemas.microsoft.com/office/drawing/2014/main" xmlns="" id="{9001CD61-3B9D-4ABA-AF34-C943776D330E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4522788" y="2263775"/>
              <a:ext cx="133350" cy="96838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298" name="Freeform 447">
              <a:extLst>
                <a:ext uri="{FF2B5EF4-FFF2-40B4-BE49-F238E27FC236}">
                  <a16:creationId xmlns:a16="http://schemas.microsoft.com/office/drawing/2014/main" xmlns="" id="{8F11C5DB-8562-48C6-8D9D-EB17868DACB6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3878263" y="3190875"/>
              <a:ext cx="177800" cy="165100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299" name="Freeform 448">
              <a:extLst>
                <a:ext uri="{FF2B5EF4-FFF2-40B4-BE49-F238E27FC236}">
                  <a16:creationId xmlns:a16="http://schemas.microsoft.com/office/drawing/2014/main" xmlns="" id="{C1473F18-169E-4748-8258-1CE1291F1220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225925" y="3259138"/>
              <a:ext cx="193675" cy="349250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00" name="Freeform 449">
              <a:extLst>
                <a:ext uri="{FF2B5EF4-FFF2-40B4-BE49-F238E27FC236}">
                  <a16:creationId xmlns:a16="http://schemas.microsoft.com/office/drawing/2014/main" xmlns="" id="{A626B6FD-522B-4A0C-9F16-0D970BE0095C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6677025" y="3017838"/>
              <a:ext cx="55563" cy="57150"/>
            </a:xfrm>
            <a:custGeom>
              <a:avLst/>
              <a:gdLst>
                <a:gd name="T0" fmla="*/ 0 w 126"/>
                <a:gd name="T1" fmla="*/ 56 h 105"/>
                <a:gd name="T2" fmla="*/ 4 w 126"/>
                <a:gd name="T3" fmla="*/ 49 h 105"/>
                <a:gd name="T4" fmla="*/ 10 w 126"/>
                <a:gd name="T5" fmla="*/ 41 h 105"/>
                <a:gd name="T6" fmla="*/ 16 w 126"/>
                <a:gd name="T7" fmla="*/ 33 h 105"/>
                <a:gd name="T8" fmla="*/ 24 w 126"/>
                <a:gd name="T9" fmla="*/ 25 h 105"/>
                <a:gd name="T10" fmla="*/ 37 w 126"/>
                <a:gd name="T11" fmla="*/ 11 h 105"/>
                <a:gd name="T12" fmla="*/ 47 w 126"/>
                <a:gd name="T13" fmla="*/ 0 h 105"/>
                <a:gd name="T14" fmla="*/ 113 w 126"/>
                <a:gd name="T15" fmla="*/ 0 h 105"/>
                <a:gd name="T16" fmla="*/ 114 w 126"/>
                <a:gd name="T17" fmla="*/ 4 h 105"/>
                <a:gd name="T18" fmla="*/ 115 w 126"/>
                <a:gd name="T19" fmla="*/ 8 h 105"/>
                <a:gd name="T20" fmla="*/ 117 w 126"/>
                <a:gd name="T21" fmla="*/ 12 h 105"/>
                <a:gd name="T22" fmla="*/ 119 w 126"/>
                <a:gd name="T23" fmla="*/ 14 h 105"/>
                <a:gd name="T24" fmla="*/ 124 w 126"/>
                <a:gd name="T25" fmla="*/ 20 h 105"/>
                <a:gd name="T26" fmla="*/ 126 w 126"/>
                <a:gd name="T27" fmla="*/ 24 h 105"/>
                <a:gd name="T28" fmla="*/ 126 w 126"/>
                <a:gd name="T29" fmla="*/ 32 h 105"/>
                <a:gd name="T30" fmla="*/ 125 w 126"/>
                <a:gd name="T31" fmla="*/ 41 h 105"/>
                <a:gd name="T32" fmla="*/ 124 w 126"/>
                <a:gd name="T33" fmla="*/ 48 h 105"/>
                <a:gd name="T34" fmla="*/ 122 w 126"/>
                <a:gd name="T35" fmla="*/ 55 h 105"/>
                <a:gd name="T36" fmla="*/ 119 w 126"/>
                <a:gd name="T37" fmla="*/ 62 h 105"/>
                <a:gd name="T38" fmla="*/ 116 w 126"/>
                <a:gd name="T39" fmla="*/ 69 h 105"/>
                <a:gd name="T40" fmla="*/ 112 w 126"/>
                <a:gd name="T41" fmla="*/ 75 h 105"/>
                <a:gd name="T42" fmla="*/ 108 w 126"/>
                <a:gd name="T43" fmla="*/ 81 h 105"/>
                <a:gd name="T44" fmla="*/ 104 w 126"/>
                <a:gd name="T45" fmla="*/ 86 h 105"/>
                <a:gd name="T46" fmla="*/ 99 w 126"/>
                <a:gd name="T47" fmla="*/ 90 h 105"/>
                <a:gd name="T48" fmla="*/ 93 w 126"/>
                <a:gd name="T49" fmla="*/ 94 h 105"/>
                <a:gd name="T50" fmla="*/ 88 w 126"/>
                <a:gd name="T51" fmla="*/ 99 h 105"/>
                <a:gd name="T52" fmla="*/ 81 w 126"/>
                <a:gd name="T53" fmla="*/ 101 h 105"/>
                <a:gd name="T54" fmla="*/ 74 w 126"/>
                <a:gd name="T55" fmla="*/ 103 h 105"/>
                <a:gd name="T56" fmla="*/ 67 w 126"/>
                <a:gd name="T57" fmla="*/ 105 h 105"/>
                <a:gd name="T58" fmla="*/ 60 w 126"/>
                <a:gd name="T59" fmla="*/ 105 h 105"/>
                <a:gd name="T60" fmla="*/ 48 w 126"/>
                <a:gd name="T61" fmla="*/ 104 h 105"/>
                <a:gd name="T62" fmla="*/ 38 w 126"/>
                <a:gd name="T63" fmla="*/ 102 h 105"/>
                <a:gd name="T64" fmla="*/ 31 w 126"/>
                <a:gd name="T65" fmla="*/ 98 h 105"/>
                <a:gd name="T66" fmla="*/ 24 w 126"/>
                <a:gd name="T67" fmla="*/ 92 h 105"/>
                <a:gd name="T68" fmla="*/ 20 w 126"/>
                <a:gd name="T69" fmla="*/ 86 h 105"/>
                <a:gd name="T70" fmla="*/ 16 w 126"/>
                <a:gd name="T71" fmla="*/ 78 h 105"/>
                <a:gd name="T72" fmla="*/ 14 w 126"/>
                <a:gd name="T73" fmla="*/ 70 h 105"/>
                <a:gd name="T74" fmla="*/ 13 w 126"/>
                <a:gd name="T75" fmla="*/ 62 h 105"/>
                <a:gd name="T76" fmla="*/ 0 w 126"/>
                <a:gd name="T77" fmla="*/ 5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01" name="Freeform 450">
              <a:extLst>
                <a:ext uri="{FF2B5EF4-FFF2-40B4-BE49-F238E27FC236}">
                  <a16:creationId xmlns:a16="http://schemas.microsoft.com/office/drawing/2014/main" xmlns="" id="{CFF4BFF2-457E-46AB-AA97-B438B9D592B6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2032000" y="3281363"/>
              <a:ext cx="298450" cy="52387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02" name="Freeform 451">
              <a:extLst>
                <a:ext uri="{FF2B5EF4-FFF2-40B4-BE49-F238E27FC236}">
                  <a16:creationId xmlns:a16="http://schemas.microsoft.com/office/drawing/2014/main" xmlns="" id="{C807CBC2-DC73-45B0-8029-F53BB140BC19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4284663" y="3549650"/>
              <a:ext cx="187325" cy="274638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03" name="Freeform 452">
              <a:extLst>
                <a:ext uri="{FF2B5EF4-FFF2-40B4-BE49-F238E27FC236}">
                  <a16:creationId xmlns:a16="http://schemas.microsoft.com/office/drawing/2014/main" xmlns="" id="{CB0010D5-1595-4F8A-BF6A-C990DAF40E6C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316413" y="2192338"/>
              <a:ext cx="127000" cy="114300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04" name="Freeform 453">
              <a:extLst>
                <a:ext uri="{FF2B5EF4-FFF2-40B4-BE49-F238E27FC236}">
                  <a16:creationId xmlns:a16="http://schemas.microsoft.com/office/drawing/2014/main" xmlns="" id="{109A9F30-A7CC-4F2A-BA2D-E6C6DEB2A42F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267200" y="2051050"/>
              <a:ext cx="168275" cy="77788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05" name="Freeform 454">
              <a:extLst>
                <a:ext uri="{FF2B5EF4-FFF2-40B4-BE49-F238E27FC236}">
                  <a16:creationId xmlns:a16="http://schemas.microsoft.com/office/drawing/2014/main" xmlns="" id="{7A8FDB1F-D07E-4679-AA68-DE703EF8D016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230688" y="1906588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06" name="Freeform 455">
              <a:extLst>
                <a:ext uri="{FF2B5EF4-FFF2-40B4-BE49-F238E27FC236}">
                  <a16:creationId xmlns:a16="http://schemas.microsoft.com/office/drawing/2014/main" xmlns="" id="{76D29DB1-64E5-4F2A-A3EC-396005C1060B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4202113" y="1911350"/>
              <a:ext cx="25400" cy="5873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07" name="Freeform 456">
              <a:extLst>
                <a:ext uri="{FF2B5EF4-FFF2-40B4-BE49-F238E27FC236}">
                  <a16:creationId xmlns:a16="http://schemas.microsoft.com/office/drawing/2014/main" xmlns="" id="{D2904EF2-D750-4647-ABA1-1DAFA47B5374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171950" y="1857375"/>
              <a:ext cx="52388" cy="77788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08" name="Freeform 457">
              <a:extLst>
                <a:ext uri="{FF2B5EF4-FFF2-40B4-BE49-F238E27FC236}">
                  <a16:creationId xmlns:a16="http://schemas.microsoft.com/office/drawing/2014/main" xmlns="" id="{00B96A9B-FDF8-416F-B795-A9FE04030DA8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603750" y="2662238"/>
              <a:ext cx="273050" cy="307975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09" name="Freeform 458">
              <a:extLst>
                <a:ext uri="{FF2B5EF4-FFF2-40B4-BE49-F238E27FC236}">
                  <a16:creationId xmlns:a16="http://schemas.microsoft.com/office/drawing/2014/main" xmlns="" id="{7D909012-9465-49E5-B748-BFEEBF7D0800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198938" y="2297113"/>
              <a:ext cx="17462" cy="57150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10" name="Freeform 459">
              <a:extLst>
                <a:ext uri="{FF2B5EF4-FFF2-40B4-BE49-F238E27FC236}">
                  <a16:creationId xmlns:a16="http://schemas.microsoft.com/office/drawing/2014/main" xmlns="" id="{195E2B02-B38B-4E7E-BAEA-C5B05858477B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3838575" y="2047875"/>
              <a:ext cx="295275" cy="273050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11" name="Freeform 460">
              <a:extLst>
                <a:ext uri="{FF2B5EF4-FFF2-40B4-BE49-F238E27FC236}">
                  <a16:creationId xmlns:a16="http://schemas.microsoft.com/office/drawing/2014/main" xmlns="" id="{CF3E5E18-B5DA-4E35-8D37-FF1172FDA1EB}"/>
                </a:ext>
              </a:extLst>
            </p:cNvPr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4919663" y="2282825"/>
              <a:ext cx="150812" cy="82550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12" name="Freeform 461">
              <a:extLst>
                <a:ext uri="{FF2B5EF4-FFF2-40B4-BE49-F238E27FC236}">
                  <a16:creationId xmlns:a16="http://schemas.microsoft.com/office/drawing/2014/main" xmlns="" id="{192E1117-F8D8-4CB9-A772-A5D033C288FD}"/>
                </a:ext>
              </a:extLst>
            </p:cNvPr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468813" y="2343150"/>
              <a:ext cx="147637" cy="173038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13" name="Freeform 462">
              <a:extLst>
                <a:ext uri="{FF2B5EF4-FFF2-40B4-BE49-F238E27FC236}">
                  <a16:creationId xmlns:a16="http://schemas.microsoft.com/office/drawing/2014/main" xmlns="" id="{98D6D7A4-4781-456D-951A-5584E3A451FA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552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14" name="Freeform 463">
              <a:extLst>
                <a:ext uri="{FF2B5EF4-FFF2-40B4-BE49-F238E27FC236}">
                  <a16:creationId xmlns:a16="http://schemas.microsoft.com/office/drawing/2014/main" xmlns="" id="{AC2CA04E-8AAF-4232-85E8-76E7E833C29E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3632200" y="3267075"/>
              <a:ext cx="187325" cy="158750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15" name="Freeform 464">
              <a:extLst>
                <a:ext uri="{FF2B5EF4-FFF2-40B4-BE49-F238E27FC236}">
                  <a16:creationId xmlns:a16="http://schemas.microsoft.com/office/drawing/2014/main" xmlns="" id="{C1858E4A-A7D4-4CB7-84F0-943FCF31209B}"/>
                </a:ext>
              </a:extLst>
            </p:cNvPr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5676900" y="2530475"/>
              <a:ext cx="692150" cy="874713"/>
            </a:xfrm>
            <a:custGeom>
              <a:avLst/>
              <a:gdLst>
                <a:gd name="T0" fmla="*/ 477 w 1594"/>
                <a:gd name="T1" fmla="*/ 107 h 1670"/>
                <a:gd name="T2" fmla="*/ 485 w 1594"/>
                <a:gd name="T3" fmla="*/ 185 h 1670"/>
                <a:gd name="T4" fmla="*/ 578 w 1594"/>
                <a:gd name="T5" fmla="*/ 287 h 1670"/>
                <a:gd name="T6" fmla="*/ 701 w 1594"/>
                <a:gd name="T7" fmla="*/ 459 h 1670"/>
                <a:gd name="T8" fmla="*/ 795 w 1594"/>
                <a:gd name="T9" fmla="*/ 499 h 1670"/>
                <a:gd name="T10" fmla="*/ 877 w 1594"/>
                <a:gd name="T11" fmla="*/ 493 h 1670"/>
                <a:gd name="T12" fmla="*/ 930 w 1594"/>
                <a:gd name="T13" fmla="*/ 537 h 1670"/>
                <a:gd name="T14" fmla="*/ 1102 w 1594"/>
                <a:gd name="T15" fmla="*/ 567 h 1670"/>
                <a:gd name="T16" fmla="*/ 1121 w 1594"/>
                <a:gd name="T17" fmla="*/ 461 h 1670"/>
                <a:gd name="T18" fmla="*/ 1179 w 1594"/>
                <a:gd name="T19" fmla="*/ 539 h 1670"/>
                <a:gd name="T20" fmla="*/ 1243 w 1594"/>
                <a:gd name="T21" fmla="*/ 561 h 1670"/>
                <a:gd name="T22" fmla="*/ 1299 w 1594"/>
                <a:gd name="T23" fmla="*/ 498 h 1670"/>
                <a:gd name="T24" fmla="*/ 1404 w 1594"/>
                <a:gd name="T25" fmla="*/ 409 h 1670"/>
                <a:gd name="T26" fmla="*/ 1549 w 1594"/>
                <a:gd name="T27" fmla="*/ 428 h 1670"/>
                <a:gd name="T28" fmla="*/ 1579 w 1594"/>
                <a:gd name="T29" fmla="*/ 498 h 1670"/>
                <a:gd name="T30" fmla="*/ 1504 w 1594"/>
                <a:gd name="T31" fmla="*/ 542 h 1670"/>
                <a:gd name="T32" fmla="*/ 1485 w 1594"/>
                <a:gd name="T33" fmla="*/ 679 h 1670"/>
                <a:gd name="T34" fmla="*/ 1429 w 1594"/>
                <a:gd name="T35" fmla="*/ 704 h 1670"/>
                <a:gd name="T36" fmla="*/ 1408 w 1594"/>
                <a:gd name="T37" fmla="*/ 814 h 1670"/>
                <a:gd name="T38" fmla="*/ 1321 w 1594"/>
                <a:gd name="T39" fmla="*/ 754 h 1670"/>
                <a:gd name="T40" fmla="*/ 1323 w 1594"/>
                <a:gd name="T41" fmla="*/ 698 h 1670"/>
                <a:gd name="T42" fmla="*/ 1225 w 1594"/>
                <a:gd name="T43" fmla="*/ 638 h 1670"/>
                <a:gd name="T44" fmla="*/ 1187 w 1594"/>
                <a:gd name="T45" fmla="*/ 588 h 1670"/>
                <a:gd name="T46" fmla="*/ 1131 w 1594"/>
                <a:gd name="T47" fmla="*/ 575 h 1670"/>
                <a:gd name="T48" fmla="*/ 1127 w 1594"/>
                <a:gd name="T49" fmla="*/ 625 h 1670"/>
                <a:gd name="T50" fmla="*/ 1117 w 1594"/>
                <a:gd name="T51" fmla="*/ 683 h 1670"/>
                <a:gd name="T52" fmla="*/ 1160 w 1594"/>
                <a:gd name="T53" fmla="*/ 735 h 1670"/>
                <a:gd name="T54" fmla="*/ 1149 w 1594"/>
                <a:gd name="T55" fmla="*/ 843 h 1670"/>
                <a:gd name="T56" fmla="*/ 1075 w 1594"/>
                <a:gd name="T57" fmla="*/ 864 h 1670"/>
                <a:gd name="T58" fmla="*/ 1049 w 1594"/>
                <a:gd name="T59" fmla="*/ 937 h 1670"/>
                <a:gd name="T60" fmla="*/ 954 w 1594"/>
                <a:gd name="T61" fmla="*/ 1001 h 1670"/>
                <a:gd name="T62" fmla="*/ 912 w 1594"/>
                <a:gd name="T63" fmla="*/ 1050 h 1670"/>
                <a:gd name="T64" fmla="*/ 780 w 1594"/>
                <a:gd name="T65" fmla="*/ 1188 h 1670"/>
                <a:gd name="T66" fmla="*/ 723 w 1594"/>
                <a:gd name="T67" fmla="*/ 1233 h 1670"/>
                <a:gd name="T68" fmla="*/ 744 w 1594"/>
                <a:gd name="T69" fmla="*/ 1344 h 1670"/>
                <a:gd name="T70" fmla="*/ 712 w 1594"/>
                <a:gd name="T71" fmla="*/ 1445 h 1670"/>
                <a:gd name="T72" fmla="*/ 722 w 1594"/>
                <a:gd name="T73" fmla="*/ 1524 h 1670"/>
                <a:gd name="T74" fmla="*/ 693 w 1594"/>
                <a:gd name="T75" fmla="*/ 1576 h 1670"/>
                <a:gd name="T76" fmla="*/ 595 w 1594"/>
                <a:gd name="T77" fmla="*/ 1663 h 1670"/>
                <a:gd name="T78" fmla="*/ 516 w 1594"/>
                <a:gd name="T79" fmla="*/ 1529 h 1670"/>
                <a:gd name="T80" fmla="*/ 419 w 1594"/>
                <a:gd name="T81" fmla="*/ 1334 h 1670"/>
                <a:gd name="T82" fmla="*/ 301 w 1594"/>
                <a:gd name="T83" fmla="*/ 1114 h 1670"/>
                <a:gd name="T84" fmla="*/ 259 w 1594"/>
                <a:gd name="T85" fmla="*/ 861 h 1670"/>
                <a:gd name="T86" fmla="*/ 230 w 1594"/>
                <a:gd name="T87" fmla="*/ 814 h 1670"/>
                <a:gd name="T88" fmla="*/ 164 w 1594"/>
                <a:gd name="T89" fmla="*/ 900 h 1670"/>
                <a:gd name="T90" fmla="*/ 90 w 1594"/>
                <a:gd name="T91" fmla="*/ 876 h 1670"/>
                <a:gd name="T92" fmla="*/ 51 w 1594"/>
                <a:gd name="T93" fmla="*/ 798 h 1670"/>
                <a:gd name="T94" fmla="*/ 30 w 1594"/>
                <a:gd name="T95" fmla="*/ 771 h 1670"/>
                <a:gd name="T96" fmla="*/ 32 w 1594"/>
                <a:gd name="T97" fmla="*/ 708 h 1670"/>
                <a:gd name="T98" fmla="*/ 159 w 1594"/>
                <a:gd name="T99" fmla="*/ 659 h 1670"/>
                <a:gd name="T100" fmla="*/ 92 w 1594"/>
                <a:gd name="T101" fmla="*/ 569 h 1670"/>
                <a:gd name="T102" fmla="*/ 59 w 1594"/>
                <a:gd name="T103" fmla="*/ 500 h 1670"/>
                <a:gd name="T104" fmla="*/ 162 w 1594"/>
                <a:gd name="T105" fmla="*/ 459 h 1670"/>
                <a:gd name="T106" fmla="*/ 270 w 1594"/>
                <a:gd name="T107" fmla="*/ 294 h 1670"/>
                <a:gd name="T108" fmla="*/ 274 w 1594"/>
                <a:gd name="T109" fmla="*/ 230 h 1670"/>
                <a:gd name="T110" fmla="*/ 227 w 1594"/>
                <a:gd name="T111" fmla="*/ 142 h 1670"/>
                <a:gd name="T112" fmla="*/ 322 w 1594"/>
                <a:gd name="T113" fmla="*/ 54 h 1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16" name="Freeform 465">
              <a:extLst>
                <a:ext uri="{FF2B5EF4-FFF2-40B4-BE49-F238E27FC236}">
                  <a16:creationId xmlns:a16="http://schemas.microsoft.com/office/drawing/2014/main" xmlns="" id="{BC56CFDC-7B3A-4054-95A9-26C94A791279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3798888" y="3325813"/>
              <a:ext cx="158750" cy="206375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17" name="Freeform 466">
              <a:extLst>
                <a:ext uri="{FF2B5EF4-FFF2-40B4-BE49-F238E27FC236}">
                  <a16:creationId xmlns:a16="http://schemas.microsoft.com/office/drawing/2014/main" xmlns="" id="{3DD65476-3C0C-41DD-9CE2-8A580991F628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4867275" y="3521075"/>
              <a:ext cx="192088" cy="271463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18" name="Freeform 467">
              <a:extLst>
                <a:ext uri="{FF2B5EF4-FFF2-40B4-BE49-F238E27FC236}">
                  <a16:creationId xmlns:a16="http://schemas.microsoft.com/office/drawing/2014/main" xmlns="" id="{8D31FCD9-CD7E-43C9-9BF8-3AEE1190EAB9}"/>
                </a:ext>
              </a:extLst>
            </p:cNvPr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849813" y="2606675"/>
              <a:ext cx="101600" cy="130175"/>
            </a:xfrm>
            <a:custGeom>
              <a:avLst/>
              <a:gdLst>
                <a:gd name="T0" fmla="*/ 12 w 226"/>
                <a:gd name="T1" fmla="*/ 228 h 246"/>
                <a:gd name="T2" fmla="*/ 36 w 226"/>
                <a:gd name="T3" fmla="*/ 240 h 246"/>
                <a:gd name="T4" fmla="*/ 53 w 226"/>
                <a:gd name="T5" fmla="*/ 245 h 246"/>
                <a:gd name="T6" fmla="*/ 68 w 226"/>
                <a:gd name="T7" fmla="*/ 245 h 246"/>
                <a:gd name="T8" fmla="*/ 85 w 226"/>
                <a:gd name="T9" fmla="*/ 241 h 246"/>
                <a:gd name="T10" fmla="*/ 110 w 226"/>
                <a:gd name="T11" fmla="*/ 228 h 246"/>
                <a:gd name="T12" fmla="*/ 141 w 226"/>
                <a:gd name="T13" fmla="*/ 205 h 246"/>
                <a:gd name="T14" fmla="*/ 161 w 226"/>
                <a:gd name="T15" fmla="*/ 184 h 246"/>
                <a:gd name="T16" fmla="*/ 159 w 226"/>
                <a:gd name="T17" fmla="*/ 173 h 246"/>
                <a:gd name="T18" fmla="*/ 149 w 226"/>
                <a:gd name="T19" fmla="*/ 160 h 246"/>
                <a:gd name="T20" fmla="*/ 143 w 226"/>
                <a:gd name="T21" fmla="*/ 145 h 246"/>
                <a:gd name="T22" fmla="*/ 141 w 226"/>
                <a:gd name="T23" fmla="*/ 130 h 246"/>
                <a:gd name="T24" fmla="*/ 141 w 226"/>
                <a:gd name="T25" fmla="*/ 116 h 246"/>
                <a:gd name="T26" fmla="*/ 146 w 226"/>
                <a:gd name="T27" fmla="*/ 105 h 246"/>
                <a:gd name="T28" fmla="*/ 156 w 226"/>
                <a:gd name="T29" fmla="*/ 94 h 246"/>
                <a:gd name="T30" fmla="*/ 168 w 226"/>
                <a:gd name="T31" fmla="*/ 86 h 246"/>
                <a:gd name="T32" fmla="*/ 204 w 226"/>
                <a:gd name="T33" fmla="*/ 71 h 246"/>
                <a:gd name="T34" fmla="*/ 225 w 226"/>
                <a:gd name="T35" fmla="*/ 49 h 246"/>
                <a:gd name="T36" fmla="*/ 221 w 226"/>
                <a:gd name="T37" fmla="*/ 30 h 246"/>
                <a:gd name="T38" fmla="*/ 214 w 226"/>
                <a:gd name="T39" fmla="*/ 17 h 246"/>
                <a:gd name="T40" fmla="*/ 212 w 226"/>
                <a:gd name="T41" fmla="*/ 6 h 246"/>
                <a:gd name="T42" fmla="*/ 202 w 226"/>
                <a:gd name="T43" fmla="*/ 1 h 246"/>
                <a:gd name="T44" fmla="*/ 181 w 226"/>
                <a:gd name="T45" fmla="*/ 7 h 246"/>
                <a:gd name="T46" fmla="*/ 154 w 226"/>
                <a:gd name="T47" fmla="*/ 20 h 246"/>
                <a:gd name="T48" fmla="*/ 121 w 226"/>
                <a:gd name="T49" fmla="*/ 38 h 246"/>
                <a:gd name="T50" fmla="*/ 100 w 226"/>
                <a:gd name="T51" fmla="*/ 51 h 246"/>
                <a:gd name="T52" fmla="*/ 87 w 226"/>
                <a:gd name="T53" fmla="*/ 55 h 246"/>
                <a:gd name="T54" fmla="*/ 75 w 226"/>
                <a:gd name="T55" fmla="*/ 54 h 246"/>
                <a:gd name="T56" fmla="*/ 59 w 226"/>
                <a:gd name="T57" fmla="*/ 47 h 246"/>
                <a:gd name="T58" fmla="*/ 36 w 226"/>
                <a:gd name="T59" fmla="*/ 31 h 246"/>
                <a:gd name="T60" fmla="*/ 24 w 226"/>
                <a:gd name="T61" fmla="*/ 39 h 246"/>
                <a:gd name="T62" fmla="*/ 18 w 226"/>
                <a:gd name="T63" fmla="*/ 95 h 246"/>
                <a:gd name="T64" fmla="*/ 10 w 226"/>
                <a:gd name="T65" fmla="*/ 163 h 246"/>
                <a:gd name="T66" fmla="*/ 3 w 226"/>
                <a:gd name="T67" fmla="*/ 2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00B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19" name="Freeform 468">
              <a:extLst>
                <a:ext uri="{FF2B5EF4-FFF2-40B4-BE49-F238E27FC236}">
                  <a16:creationId xmlns:a16="http://schemas.microsoft.com/office/drawing/2014/main" xmlns="" id="{C6F46090-FEBE-4E83-8EEB-F1E67054CE17}"/>
                </a:ext>
              </a:extLst>
            </p:cNvPr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5148263" y="2709863"/>
              <a:ext cx="22225" cy="55562"/>
            </a:xfrm>
            <a:custGeom>
              <a:avLst/>
              <a:gdLst>
                <a:gd name="T0" fmla="*/ 27 w 60"/>
                <a:gd name="T1" fmla="*/ 0 h 81"/>
                <a:gd name="T2" fmla="*/ 29 w 60"/>
                <a:gd name="T3" fmla="*/ 2 h 81"/>
                <a:gd name="T4" fmla="*/ 32 w 60"/>
                <a:gd name="T5" fmla="*/ 3 h 81"/>
                <a:gd name="T6" fmla="*/ 36 w 60"/>
                <a:gd name="T7" fmla="*/ 3 h 81"/>
                <a:gd name="T8" fmla="*/ 40 w 60"/>
                <a:gd name="T9" fmla="*/ 2 h 81"/>
                <a:gd name="T10" fmla="*/ 47 w 60"/>
                <a:gd name="T11" fmla="*/ 1 h 81"/>
                <a:gd name="T12" fmla="*/ 53 w 60"/>
                <a:gd name="T13" fmla="*/ 0 h 81"/>
                <a:gd name="T14" fmla="*/ 53 w 60"/>
                <a:gd name="T15" fmla="*/ 26 h 81"/>
                <a:gd name="T16" fmla="*/ 54 w 60"/>
                <a:gd name="T17" fmla="*/ 47 h 81"/>
                <a:gd name="T18" fmla="*/ 54 w 60"/>
                <a:gd name="T19" fmla="*/ 57 h 81"/>
                <a:gd name="T20" fmla="*/ 56 w 60"/>
                <a:gd name="T21" fmla="*/ 65 h 81"/>
                <a:gd name="T22" fmla="*/ 58 w 60"/>
                <a:gd name="T23" fmla="*/ 73 h 81"/>
                <a:gd name="T24" fmla="*/ 60 w 60"/>
                <a:gd name="T25" fmla="*/ 81 h 81"/>
                <a:gd name="T26" fmla="*/ 20 w 60"/>
                <a:gd name="T27" fmla="*/ 81 h 81"/>
                <a:gd name="T28" fmla="*/ 14 w 60"/>
                <a:gd name="T29" fmla="*/ 80 h 81"/>
                <a:gd name="T30" fmla="*/ 7 w 60"/>
                <a:gd name="T31" fmla="*/ 77 h 81"/>
                <a:gd name="T32" fmla="*/ 5 w 60"/>
                <a:gd name="T33" fmla="*/ 74 h 81"/>
                <a:gd name="T34" fmla="*/ 2 w 60"/>
                <a:gd name="T35" fmla="*/ 72 h 81"/>
                <a:gd name="T36" fmla="*/ 1 w 60"/>
                <a:gd name="T37" fmla="*/ 70 h 81"/>
                <a:gd name="T38" fmla="*/ 0 w 60"/>
                <a:gd name="T39" fmla="*/ 68 h 81"/>
                <a:gd name="T40" fmla="*/ 7 w 60"/>
                <a:gd name="T41" fmla="*/ 12 h 81"/>
                <a:gd name="T42" fmla="*/ 20 w 60"/>
                <a:gd name="T43" fmla="*/ 6 h 81"/>
                <a:gd name="T44" fmla="*/ 34 w 60"/>
                <a:gd name="T45" fmla="*/ 0 h 81"/>
                <a:gd name="T46" fmla="*/ 27 w 60"/>
                <a:gd name="T4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20" name="Freeform 469">
              <a:extLst>
                <a:ext uri="{FF2B5EF4-FFF2-40B4-BE49-F238E27FC236}">
                  <a16:creationId xmlns:a16="http://schemas.microsoft.com/office/drawing/2014/main" xmlns="" id="{1D77C69C-E832-46EC-9BDF-E9D873AA8624}"/>
                </a:ext>
              </a:extLst>
            </p:cNvPr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435475" y="1844675"/>
              <a:ext cx="161925" cy="6667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21" name="Freeform 470">
              <a:extLst>
                <a:ext uri="{FF2B5EF4-FFF2-40B4-BE49-F238E27FC236}">
                  <a16:creationId xmlns:a16="http://schemas.microsoft.com/office/drawing/2014/main" xmlns="" id="{C1DE1309-14A4-4C20-8436-2583EB2EC5A4}"/>
                </a:ext>
              </a:extLst>
            </p:cNvPr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846638" y="2565400"/>
              <a:ext cx="30162" cy="57150"/>
            </a:xfrm>
            <a:custGeom>
              <a:avLst/>
              <a:gdLst>
                <a:gd name="T0" fmla="*/ 27 w 80"/>
                <a:gd name="T1" fmla="*/ 1 h 94"/>
                <a:gd name="T2" fmla="*/ 34 w 80"/>
                <a:gd name="T3" fmla="*/ 0 h 94"/>
                <a:gd name="T4" fmla="*/ 41 w 80"/>
                <a:gd name="T5" fmla="*/ 0 h 94"/>
                <a:gd name="T6" fmla="*/ 47 w 80"/>
                <a:gd name="T7" fmla="*/ 2 h 94"/>
                <a:gd name="T8" fmla="*/ 54 w 80"/>
                <a:gd name="T9" fmla="*/ 4 h 94"/>
                <a:gd name="T10" fmla="*/ 60 w 80"/>
                <a:gd name="T11" fmla="*/ 6 h 94"/>
                <a:gd name="T12" fmla="*/ 66 w 80"/>
                <a:gd name="T13" fmla="*/ 8 h 94"/>
                <a:gd name="T14" fmla="*/ 73 w 80"/>
                <a:gd name="T15" fmla="*/ 8 h 94"/>
                <a:gd name="T16" fmla="*/ 80 w 80"/>
                <a:gd name="T17" fmla="*/ 7 h 94"/>
                <a:gd name="T18" fmla="*/ 80 w 80"/>
                <a:gd name="T19" fmla="*/ 38 h 94"/>
                <a:gd name="T20" fmla="*/ 75 w 80"/>
                <a:gd name="T21" fmla="*/ 44 h 94"/>
                <a:gd name="T22" fmla="*/ 69 w 80"/>
                <a:gd name="T23" fmla="*/ 51 h 94"/>
                <a:gd name="T24" fmla="*/ 64 w 80"/>
                <a:gd name="T25" fmla="*/ 59 h 94"/>
                <a:gd name="T26" fmla="*/ 58 w 80"/>
                <a:gd name="T27" fmla="*/ 68 h 94"/>
                <a:gd name="T28" fmla="*/ 51 w 80"/>
                <a:gd name="T29" fmla="*/ 84 h 94"/>
                <a:gd name="T30" fmla="*/ 47 w 80"/>
                <a:gd name="T31" fmla="*/ 94 h 94"/>
                <a:gd name="T32" fmla="*/ 43 w 80"/>
                <a:gd name="T33" fmla="*/ 93 h 94"/>
                <a:gd name="T34" fmla="*/ 40 w 80"/>
                <a:gd name="T35" fmla="*/ 92 h 94"/>
                <a:gd name="T36" fmla="*/ 37 w 80"/>
                <a:gd name="T37" fmla="*/ 91 h 94"/>
                <a:gd name="T38" fmla="*/ 34 w 80"/>
                <a:gd name="T39" fmla="*/ 89 h 94"/>
                <a:gd name="T40" fmla="*/ 29 w 80"/>
                <a:gd name="T41" fmla="*/ 84 h 94"/>
                <a:gd name="T42" fmla="*/ 23 w 80"/>
                <a:gd name="T43" fmla="*/ 78 h 94"/>
                <a:gd name="T44" fmla="*/ 19 w 80"/>
                <a:gd name="T45" fmla="*/ 72 h 94"/>
                <a:gd name="T46" fmla="*/ 13 w 80"/>
                <a:gd name="T47" fmla="*/ 65 h 94"/>
                <a:gd name="T48" fmla="*/ 7 w 80"/>
                <a:gd name="T49" fmla="*/ 60 h 94"/>
                <a:gd name="T50" fmla="*/ 0 w 80"/>
                <a:gd name="T51" fmla="*/ 56 h 94"/>
                <a:gd name="T52" fmla="*/ 8 w 80"/>
                <a:gd name="T53" fmla="*/ 41 h 94"/>
                <a:gd name="T54" fmla="*/ 13 w 80"/>
                <a:gd name="T55" fmla="*/ 29 h 94"/>
                <a:gd name="T56" fmla="*/ 19 w 80"/>
                <a:gd name="T57" fmla="*/ 17 h 94"/>
                <a:gd name="T58" fmla="*/ 27 w 80"/>
                <a:gd name="T5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22" name="Freeform 471">
              <a:extLst>
                <a:ext uri="{FF2B5EF4-FFF2-40B4-BE49-F238E27FC236}">
                  <a16:creationId xmlns:a16="http://schemas.microsoft.com/office/drawing/2014/main" xmlns="" id="{089FA66E-7F3C-4D55-B247-DD2CAAD07FF1}"/>
                </a:ext>
              </a:extLst>
            </p:cNvPr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00B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23" name="Freeform 472">
              <a:extLst>
                <a:ext uri="{FF2B5EF4-FFF2-40B4-BE49-F238E27FC236}">
                  <a16:creationId xmlns:a16="http://schemas.microsoft.com/office/drawing/2014/main" xmlns="" id="{E5DE313B-427F-4051-AE89-F26591E49FB1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433888" y="1892300"/>
              <a:ext cx="131762" cy="84138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24" name="Freeform 473">
              <a:extLst>
                <a:ext uri="{FF2B5EF4-FFF2-40B4-BE49-F238E27FC236}">
                  <a16:creationId xmlns:a16="http://schemas.microsoft.com/office/drawing/2014/main" xmlns="" id="{756C8C9F-1735-4803-AA0F-F8FD89B88CD6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140200" y="2078038"/>
              <a:ext cx="19050" cy="603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25" name="Freeform 474">
              <a:extLst>
                <a:ext uri="{FF2B5EF4-FFF2-40B4-BE49-F238E27FC236}">
                  <a16:creationId xmlns:a16="http://schemas.microsoft.com/office/drawing/2014/main" xmlns="" id="{62AB7DDA-1683-4B21-AA3E-B7538E6C974A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837113" y="3962400"/>
              <a:ext cx="69850" cy="241300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26" name="Freeform 475">
              <a:extLst>
                <a:ext uri="{FF2B5EF4-FFF2-40B4-BE49-F238E27FC236}">
                  <a16:creationId xmlns:a16="http://schemas.microsoft.com/office/drawing/2014/main" xmlns="" id="{F1978739-A23D-4F9D-A396-CE28D1DC2017}"/>
                </a:ext>
              </a:extLst>
            </p:cNvPr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329113" y="2533650"/>
              <a:ext cx="14287" cy="57150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27" name="Freeform 476">
              <a:extLst>
                <a:ext uri="{FF2B5EF4-FFF2-40B4-BE49-F238E27FC236}">
                  <a16:creationId xmlns:a16="http://schemas.microsoft.com/office/drawing/2014/main" xmlns="" id="{C3F0785F-D2D5-45E9-BD37-024B6EC2CEB5}"/>
                </a:ext>
              </a:extLst>
            </p:cNvPr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648200" y="4154488"/>
              <a:ext cx="188913" cy="217487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28" name="Freeform 477">
              <a:extLst>
                <a:ext uri="{FF2B5EF4-FFF2-40B4-BE49-F238E27FC236}">
                  <a16:creationId xmlns:a16="http://schemas.microsoft.com/office/drawing/2014/main" xmlns="" id="{23C5ED63-9C79-4D2C-B62D-452C5CEB82D5}"/>
                </a:ext>
              </a:extLst>
            </p:cNvPr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560888" y="3930650"/>
              <a:ext cx="293687" cy="300038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29" name="Freeform 478">
              <a:extLst>
                <a:ext uri="{FF2B5EF4-FFF2-40B4-BE49-F238E27FC236}">
                  <a16:creationId xmlns:a16="http://schemas.microsoft.com/office/drawing/2014/main" xmlns="" id="{BBC06566-8CEC-4B64-8DA4-7C35A32E4243}"/>
                </a:ext>
              </a:extLst>
            </p:cNvPr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297363" y="4203700"/>
              <a:ext cx="350837" cy="381000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30" name="Freeform 479">
              <a:extLst>
                <a:ext uri="{FF2B5EF4-FFF2-40B4-BE49-F238E27FC236}">
                  <a16:creationId xmlns:a16="http://schemas.microsoft.com/office/drawing/2014/main" xmlns="" id="{352C0E05-166C-443F-BA9E-CE49F2183C5C}"/>
                </a:ext>
              </a:extLst>
            </p:cNvPr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3576638" y="3133725"/>
              <a:ext cx="161925" cy="141288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31" name="Freeform 480">
              <a:extLst>
                <a:ext uri="{FF2B5EF4-FFF2-40B4-BE49-F238E27FC236}">
                  <a16:creationId xmlns:a16="http://schemas.microsoft.com/office/drawing/2014/main" xmlns="" id="{19AE7D9A-9388-4613-9619-9CA14EF00FD5}"/>
                </a:ext>
              </a:extLst>
            </p:cNvPr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4749800" y="3695700"/>
              <a:ext cx="269875" cy="334963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32" name="Freeform 481">
              <a:extLst>
                <a:ext uri="{FF2B5EF4-FFF2-40B4-BE49-F238E27FC236}">
                  <a16:creationId xmlns:a16="http://schemas.microsoft.com/office/drawing/2014/main" xmlns="" id="{76D11173-5FB0-419B-AB32-87408531EFAA}"/>
                </a:ext>
              </a:extLst>
            </p:cNvPr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7313613" y="2209800"/>
              <a:ext cx="19050" cy="57150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33" name="Freeform 482">
              <a:extLst>
                <a:ext uri="{FF2B5EF4-FFF2-40B4-BE49-F238E27FC236}">
                  <a16:creationId xmlns:a16="http://schemas.microsoft.com/office/drawing/2014/main" xmlns="" id="{E2D9EB76-7411-4F28-902C-A4BEC7F4D9D3}"/>
                </a:ext>
              </a:extLst>
            </p:cNvPr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7172325" y="2211388"/>
              <a:ext cx="141288" cy="125412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34" name="Freeform 483">
              <a:extLst>
                <a:ext uri="{FF2B5EF4-FFF2-40B4-BE49-F238E27FC236}">
                  <a16:creationId xmlns:a16="http://schemas.microsoft.com/office/drawing/2014/main" xmlns="" id="{E55DD6F1-2BD5-45F7-AC12-B5CBE9F3E1A2}"/>
                </a:ext>
              </a:extLst>
            </p:cNvPr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142163" y="2565400"/>
              <a:ext cx="52387" cy="57150"/>
            </a:xfrm>
            <a:custGeom>
              <a:avLst/>
              <a:gdLst>
                <a:gd name="T0" fmla="*/ 33 w 125"/>
                <a:gd name="T1" fmla="*/ 19 h 93"/>
                <a:gd name="T2" fmla="*/ 43 w 125"/>
                <a:gd name="T3" fmla="*/ 19 h 93"/>
                <a:gd name="T4" fmla="*/ 52 w 125"/>
                <a:gd name="T5" fmla="*/ 19 h 93"/>
                <a:gd name="T6" fmla="*/ 55 w 125"/>
                <a:gd name="T7" fmla="*/ 19 h 93"/>
                <a:gd name="T8" fmla="*/ 58 w 125"/>
                <a:gd name="T9" fmla="*/ 17 h 93"/>
                <a:gd name="T10" fmla="*/ 61 w 125"/>
                <a:gd name="T11" fmla="*/ 15 h 93"/>
                <a:gd name="T12" fmla="*/ 65 w 125"/>
                <a:gd name="T13" fmla="*/ 11 h 93"/>
                <a:gd name="T14" fmla="*/ 68 w 125"/>
                <a:gd name="T15" fmla="*/ 8 h 93"/>
                <a:gd name="T16" fmla="*/ 70 w 125"/>
                <a:gd name="T17" fmla="*/ 5 h 93"/>
                <a:gd name="T18" fmla="*/ 72 w 125"/>
                <a:gd name="T19" fmla="*/ 3 h 93"/>
                <a:gd name="T20" fmla="*/ 72 w 125"/>
                <a:gd name="T21" fmla="*/ 0 h 93"/>
                <a:gd name="T22" fmla="*/ 118 w 125"/>
                <a:gd name="T23" fmla="*/ 0 h 93"/>
                <a:gd name="T24" fmla="*/ 122 w 125"/>
                <a:gd name="T25" fmla="*/ 15 h 93"/>
                <a:gd name="T26" fmla="*/ 125 w 125"/>
                <a:gd name="T27" fmla="*/ 25 h 93"/>
                <a:gd name="T28" fmla="*/ 124 w 125"/>
                <a:gd name="T29" fmla="*/ 29 h 93"/>
                <a:gd name="T30" fmla="*/ 122 w 125"/>
                <a:gd name="T31" fmla="*/ 33 h 93"/>
                <a:gd name="T32" fmla="*/ 119 w 125"/>
                <a:gd name="T33" fmla="*/ 35 h 93"/>
                <a:gd name="T34" fmla="*/ 117 w 125"/>
                <a:gd name="T35" fmla="*/ 37 h 93"/>
                <a:gd name="T36" fmla="*/ 111 w 125"/>
                <a:gd name="T37" fmla="*/ 40 h 93"/>
                <a:gd name="T38" fmla="*/ 104 w 125"/>
                <a:gd name="T39" fmla="*/ 41 h 93"/>
                <a:gd name="T40" fmla="*/ 88 w 125"/>
                <a:gd name="T41" fmla="*/ 41 h 93"/>
                <a:gd name="T42" fmla="*/ 72 w 125"/>
                <a:gd name="T43" fmla="*/ 43 h 93"/>
                <a:gd name="T44" fmla="*/ 70 w 125"/>
                <a:gd name="T45" fmla="*/ 47 h 93"/>
                <a:gd name="T46" fmla="*/ 69 w 125"/>
                <a:gd name="T47" fmla="*/ 53 h 93"/>
                <a:gd name="T48" fmla="*/ 67 w 125"/>
                <a:gd name="T49" fmla="*/ 61 h 93"/>
                <a:gd name="T50" fmla="*/ 67 w 125"/>
                <a:gd name="T51" fmla="*/ 71 h 93"/>
                <a:gd name="T52" fmla="*/ 66 w 125"/>
                <a:gd name="T53" fmla="*/ 86 h 93"/>
                <a:gd name="T54" fmla="*/ 66 w 125"/>
                <a:gd name="T55" fmla="*/ 93 h 93"/>
                <a:gd name="T56" fmla="*/ 49 w 125"/>
                <a:gd name="T57" fmla="*/ 85 h 93"/>
                <a:gd name="T58" fmla="*/ 27 w 125"/>
                <a:gd name="T59" fmla="*/ 73 h 93"/>
                <a:gd name="T60" fmla="*/ 16 w 125"/>
                <a:gd name="T61" fmla="*/ 65 h 93"/>
                <a:gd name="T62" fmla="*/ 7 w 125"/>
                <a:gd name="T63" fmla="*/ 58 h 93"/>
                <a:gd name="T64" fmla="*/ 4 w 125"/>
                <a:gd name="T65" fmla="*/ 54 h 93"/>
                <a:gd name="T66" fmla="*/ 2 w 125"/>
                <a:gd name="T67" fmla="*/ 50 h 93"/>
                <a:gd name="T68" fmla="*/ 0 w 125"/>
                <a:gd name="T69" fmla="*/ 47 h 93"/>
                <a:gd name="T70" fmla="*/ 0 w 125"/>
                <a:gd name="T71" fmla="*/ 43 h 93"/>
                <a:gd name="T72" fmla="*/ 7 w 125"/>
                <a:gd name="T73" fmla="*/ 43 h 93"/>
                <a:gd name="T74" fmla="*/ 15 w 125"/>
                <a:gd name="T75" fmla="*/ 41 h 93"/>
                <a:gd name="T76" fmla="*/ 20 w 125"/>
                <a:gd name="T77" fmla="*/ 39 h 93"/>
                <a:gd name="T78" fmla="*/ 23 w 125"/>
                <a:gd name="T79" fmla="*/ 36 h 93"/>
                <a:gd name="T80" fmla="*/ 28 w 125"/>
                <a:gd name="T81" fmla="*/ 28 h 93"/>
                <a:gd name="T82" fmla="*/ 33 w 125"/>
                <a:gd name="T83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35" name="Freeform 484">
              <a:extLst>
                <a:ext uri="{FF2B5EF4-FFF2-40B4-BE49-F238E27FC236}">
                  <a16:creationId xmlns:a16="http://schemas.microsoft.com/office/drawing/2014/main" xmlns="" id="{F436CEBD-EC3B-455C-8ED9-D0135493FBF6}"/>
                </a:ext>
              </a:extLst>
            </p:cNvPr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7088188" y="2579688"/>
              <a:ext cx="60325" cy="84137"/>
            </a:xfrm>
            <a:custGeom>
              <a:avLst/>
              <a:gdLst>
                <a:gd name="T0" fmla="*/ 20 w 133"/>
                <a:gd name="T1" fmla="*/ 12 h 154"/>
                <a:gd name="T2" fmla="*/ 24 w 133"/>
                <a:gd name="T3" fmla="*/ 10 h 154"/>
                <a:gd name="T4" fmla="*/ 31 w 133"/>
                <a:gd name="T5" fmla="*/ 6 h 154"/>
                <a:gd name="T6" fmla="*/ 34 w 133"/>
                <a:gd name="T7" fmla="*/ 4 h 154"/>
                <a:gd name="T8" fmla="*/ 37 w 133"/>
                <a:gd name="T9" fmla="*/ 2 h 154"/>
                <a:gd name="T10" fmla="*/ 42 w 133"/>
                <a:gd name="T11" fmla="*/ 1 h 154"/>
                <a:gd name="T12" fmla="*/ 46 w 133"/>
                <a:gd name="T13" fmla="*/ 0 h 154"/>
                <a:gd name="T14" fmla="*/ 59 w 133"/>
                <a:gd name="T15" fmla="*/ 1 h 154"/>
                <a:gd name="T16" fmla="*/ 70 w 133"/>
                <a:gd name="T17" fmla="*/ 4 h 154"/>
                <a:gd name="T18" fmla="*/ 81 w 133"/>
                <a:gd name="T19" fmla="*/ 8 h 154"/>
                <a:gd name="T20" fmla="*/ 90 w 133"/>
                <a:gd name="T21" fmla="*/ 14 h 154"/>
                <a:gd name="T22" fmla="*/ 99 w 133"/>
                <a:gd name="T23" fmla="*/ 21 h 154"/>
                <a:gd name="T24" fmla="*/ 105 w 133"/>
                <a:gd name="T25" fmla="*/ 30 h 154"/>
                <a:gd name="T26" fmla="*/ 112 w 133"/>
                <a:gd name="T27" fmla="*/ 40 h 154"/>
                <a:gd name="T28" fmla="*/ 116 w 133"/>
                <a:gd name="T29" fmla="*/ 50 h 154"/>
                <a:gd name="T30" fmla="*/ 121 w 133"/>
                <a:gd name="T31" fmla="*/ 60 h 154"/>
                <a:gd name="T32" fmla="*/ 124 w 133"/>
                <a:gd name="T33" fmla="*/ 71 h 154"/>
                <a:gd name="T34" fmla="*/ 127 w 133"/>
                <a:gd name="T35" fmla="*/ 82 h 154"/>
                <a:gd name="T36" fmla="*/ 130 w 133"/>
                <a:gd name="T37" fmla="*/ 94 h 154"/>
                <a:gd name="T38" fmla="*/ 132 w 133"/>
                <a:gd name="T39" fmla="*/ 116 h 154"/>
                <a:gd name="T40" fmla="*/ 133 w 133"/>
                <a:gd name="T41" fmla="*/ 135 h 154"/>
                <a:gd name="T42" fmla="*/ 132 w 133"/>
                <a:gd name="T43" fmla="*/ 138 h 154"/>
                <a:gd name="T44" fmla="*/ 130 w 133"/>
                <a:gd name="T45" fmla="*/ 141 h 154"/>
                <a:gd name="T46" fmla="*/ 125 w 133"/>
                <a:gd name="T47" fmla="*/ 144 h 154"/>
                <a:gd name="T48" fmla="*/ 121 w 133"/>
                <a:gd name="T49" fmla="*/ 147 h 154"/>
                <a:gd name="T50" fmla="*/ 115 w 133"/>
                <a:gd name="T51" fmla="*/ 150 h 154"/>
                <a:gd name="T52" fmla="*/ 110 w 133"/>
                <a:gd name="T53" fmla="*/ 153 h 154"/>
                <a:gd name="T54" fmla="*/ 104 w 133"/>
                <a:gd name="T55" fmla="*/ 154 h 154"/>
                <a:gd name="T56" fmla="*/ 99 w 133"/>
                <a:gd name="T57" fmla="*/ 154 h 154"/>
                <a:gd name="T58" fmla="*/ 93 w 133"/>
                <a:gd name="T59" fmla="*/ 153 h 154"/>
                <a:gd name="T60" fmla="*/ 87 w 133"/>
                <a:gd name="T61" fmla="*/ 149 h 154"/>
                <a:gd name="T62" fmla="*/ 79 w 133"/>
                <a:gd name="T63" fmla="*/ 141 h 154"/>
                <a:gd name="T64" fmla="*/ 71 w 133"/>
                <a:gd name="T65" fmla="*/ 134 h 154"/>
                <a:gd name="T66" fmla="*/ 64 w 133"/>
                <a:gd name="T67" fmla="*/ 126 h 154"/>
                <a:gd name="T68" fmla="*/ 58 w 133"/>
                <a:gd name="T69" fmla="*/ 118 h 154"/>
                <a:gd name="T70" fmla="*/ 54 w 133"/>
                <a:gd name="T71" fmla="*/ 111 h 154"/>
                <a:gd name="T72" fmla="*/ 53 w 133"/>
                <a:gd name="T73" fmla="*/ 105 h 154"/>
                <a:gd name="T74" fmla="*/ 54 w 133"/>
                <a:gd name="T75" fmla="*/ 98 h 154"/>
                <a:gd name="T76" fmla="*/ 56 w 133"/>
                <a:gd name="T77" fmla="*/ 83 h 154"/>
                <a:gd name="T78" fmla="*/ 58 w 133"/>
                <a:gd name="T79" fmla="*/ 68 h 154"/>
                <a:gd name="T80" fmla="*/ 59 w 133"/>
                <a:gd name="T81" fmla="*/ 62 h 154"/>
                <a:gd name="T82" fmla="*/ 47 w 133"/>
                <a:gd name="T83" fmla="*/ 61 h 154"/>
                <a:gd name="T84" fmla="*/ 36 w 133"/>
                <a:gd name="T85" fmla="*/ 59 h 154"/>
                <a:gd name="T86" fmla="*/ 25 w 133"/>
                <a:gd name="T87" fmla="*/ 56 h 154"/>
                <a:gd name="T88" fmla="*/ 17 w 133"/>
                <a:gd name="T89" fmla="*/ 52 h 154"/>
                <a:gd name="T90" fmla="*/ 13 w 133"/>
                <a:gd name="T91" fmla="*/ 49 h 154"/>
                <a:gd name="T92" fmla="*/ 10 w 133"/>
                <a:gd name="T93" fmla="*/ 46 h 154"/>
                <a:gd name="T94" fmla="*/ 7 w 133"/>
                <a:gd name="T95" fmla="*/ 43 h 154"/>
                <a:gd name="T96" fmla="*/ 4 w 133"/>
                <a:gd name="T97" fmla="*/ 39 h 154"/>
                <a:gd name="T98" fmla="*/ 2 w 133"/>
                <a:gd name="T99" fmla="*/ 34 h 154"/>
                <a:gd name="T100" fmla="*/ 1 w 133"/>
                <a:gd name="T101" fmla="*/ 29 h 154"/>
                <a:gd name="T102" fmla="*/ 0 w 133"/>
                <a:gd name="T103" fmla="*/ 24 h 154"/>
                <a:gd name="T104" fmla="*/ 0 w 133"/>
                <a:gd name="T105" fmla="*/ 18 h 154"/>
                <a:gd name="T106" fmla="*/ 7 w 133"/>
                <a:gd name="T107" fmla="*/ 15 h 154"/>
                <a:gd name="T108" fmla="*/ 20 w 133"/>
                <a:gd name="T109" fmla="*/ 1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36" name="Freeform 485">
              <a:extLst>
                <a:ext uri="{FF2B5EF4-FFF2-40B4-BE49-F238E27FC236}">
                  <a16:creationId xmlns:a16="http://schemas.microsoft.com/office/drawing/2014/main" xmlns="" id="{B90B4796-7C27-44CF-A6A9-698A1B195048}"/>
                </a:ext>
              </a:extLst>
            </p:cNvPr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7104063" y="2341563"/>
              <a:ext cx="209550" cy="244475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37" name="Freeform 486">
              <a:extLst>
                <a:ext uri="{FF2B5EF4-FFF2-40B4-BE49-F238E27FC236}">
                  <a16:creationId xmlns:a16="http://schemas.microsoft.com/office/drawing/2014/main" xmlns="" id="{0495E0FE-CDB8-45BD-AC9E-BEE9E90689EE}"/>
                </a:ext>
              </a:extLst>
            </p:cNvPr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4687888" y="1231900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38" name="Freeform 487">
              <a:extLst>
                <a:ext uri="{FF2B5EF4-FFF2-40B4-BE49-F238E27FC236}">
                  <a16:creationId xmlns:a16="http://schemas.microsoft.com/office/drawing/2014/main" xmlns="" id="{7EEE3E43-D2BF-452D-B77F-B465047DCD73}"/>
                </a:ext>
              </a:extLst>
            </p:cNvPr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830763" y="12144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39" name="Freeform 488">
              <a:extLst>
                <a:ext uri="{FF2B5EF4-FFF2-40B4-BE49-F238E27FC236}">
                  <a16:creationId xmlns:a16="http://schemas.microsoft.com/office/drawing/2014/main" xmlns="" id="{B37E4296-A036-484D-88C4-ED8E68A31BD0}"/>
                </a:ext>
              </a:extLst>
            </p:cNvPr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4867275" y="12223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40" name="Freeform 489">
              <a:extLst>
                <a:ext uri="{FF2B5EF4-FFF2-40B4-BE49-F238E27FC236}">
                  <a16:creationId xmlns:a16="http://schemas.microsoft.com/office/drawing/2014/main" xmlns="" id="{0A151FDA-46A0-4DE5-A404-34BC8EBE4E01}"/>
                </a:ext>
              </a:extLst>
            </p:cNvPr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400675" y="1408113"/>
              <a:ext cx="41275" cy="57150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41" name="Freeform 490">
              <a:extLst>
                <a:ext uri="{FF2B5EF4-FFF2-40B4-BE49-F238E27FC236}">
                  <a16:creationId xmlns:a16="http://schemas.microsoft.com/office/drawing/2014/main" xmlns="" id="{DDB6237B-C50F-4281-8EC7-15986FD60632}"/>
                </a:ext>
              </a:extLst>
            </p:cNvPr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310188" y="1266825"/>
              <a:ext cx="15875" cy="5873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42" name="Freeform 491">
              <a:extLst>
                <a:ext uri="{FF2B5EF4-FFF2-40B4-BE49-F238E27FC236}">
                  <a16:creationId xmlns:a16="http://schemas.microsoft.com/office/drawing/2014/main" xmlns="" id="{F8E3B80B-37D6-4422-AE8F-EF503807E712}"/>
                </a:ext>
              </a:extLst>
            </p:cNvPr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5332413" y="1225550"/>
              <a:ext cx="14287" cy="60325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43" name="Freeform 492">
              <a:extLst>
                <a:ext uri="{FF2B5EF4-FFF2-40B4-BE49-F238E27FC236}">
                  <a16:creationId xmlns:a16="http://schemas.microsoft.com/office/drawing/2014/main" xmlns="" id="{DCDA2BB5-D16E-4981-8923-B4440CB40634}"/>
                </a:ext>
              </a:extLst>
            </p:cNvPr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5476875" y="1341438"/>
              <a:ext cx="17463" cy="57150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44" name="Freeform 493">
              <a:extLst>
                <a:ext uri="{FF2B5EF4-FFF2-40B4-BE49-F238E27FC236}">
                  <a16:creationId xmlns:a16="http://schemas.microsoft.com/office/drawing/2014/main" xmlns="" id="{E18E4016-D488-452C-B6CD-08C387BD352B}"/>
                </a:ext>
              </a:extLst>
            </p:cNvPr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5530850" y="1225550"/>
              <a:ext cx="93663" cy="60325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45" name="Freeform 494">
              <a:extLst>
                <a:ext uri="{FF2B5EF4-FFF2-40B4-BE49-F238E27FC236}">
                  <a16:creationId xmlns:a16="http://schemas.microsoft.com/office/drawing/2014/main" xmlns="" id="{584EF3D8-F45E-45C7-9707-848E6B554431}"/>
                </a:ext>
              </a:extLst>
            </p:cNvPr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5591175" y="1250950"/>
              <a:ext cx="103188" cy="60325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46" name="Freeform 495">
              <a:extLst>
                <a:ext uri="{FF2B5EF4-FFF2-40B4-BE49-F238E27FC236}">
                  <a16:creationId xmlns:a16="http://schemas.microsoft.com/office/drawing/2014/main" xmlns="" id="{57E88B83-A49E-47E5-9441-9B40E3E2A5E8}"/>
                </a:ext>
              </a:extLst>
            </p:cNvPr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5708650" y="1265238"/>
              <a:ext cx="82550" cy="57150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47" name="Freeform 496">
              <a:extLst>
                <a:ext uri="{FF2B5EF4-FFF2-40B4-BE49-F238E27FC236}">
                  <a16:creationId xmlns:a16="http://schemas.microsoft.com/office/drawing/2014/main" xmlns="" id="{F3152AD0-51E8-4F99-A597-F762B35C3918}"/>
                </a:ext>
              </a:extLst>
            </p:cNvPr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6235700" y="1390650"/>
              <a:ext cx="79375" cy="5873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48" name="Freeform 497">
              <a:extLst>
                <a:ext uri="{FF2B5EF4-FFF2-40B4-BE49-F238E27FC236}">
                  <a16:creationId xmlns:a16="http://schemas.microsoft.com/office/drawing/2014/main" xmlns="" id="{DEB67C42-D389-4BB4-A99C-7C37A55EB3B0}"/>
                </a:ext>
              </a:extLst>
            </p:cNvPr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302375" y="1408113"/>
              <a:ext cx="33338" cy="57150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49" name="Freeform 498">
              <a:extLst>
                <a:ext uri="{FF2B5EF4-FFF2-40B4-BE49-F238E27FC236}">
                  <a16:creationId xmlns:a16="http://schemas.microsoft.com/office/drawing/2014/main" xmlns="" id="{912791E9-F031-4C98-B87B-C6B409C6E081}"/>
                </a:ext>
              </a:extLst>
            </p:cNvPr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332538" y="1419225"/>
              <a:ext cx="52387" cy="587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50" name="Freeform 499">
              <a:extLst>
                <a:ext uri="{FF2B5EF4-FFF2-40B4-BE49-F238E27FC236}">
                  <a16:creationId xmlns:a16="http://schemas.microsoft.com/office/drawing/2014/main" xmlns="" id="{D7FCB13F-75EF-4195-9E4E-98B5CC73BBA1}"/>
                </a:ext>
              </a:extLst>
            </p:cNvPr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6103938" y="1392238"/>
              <a:ext cx="61912" cy="58737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51" name="Freeform 500">
              <a:extLst>
                <a:ext uri="{FF2B5EF4-FFF2-40B4-BE49-F238E27FC236}">
                  <a16:creationId xmlns:a16="http://schemas.microsoft.com/office/drawing/2014/main" xmlns="" id="{B9784AE5-4398-48D3-8DB2-93122D6F9C95}"/>
                </a:ext>
              </a:extLst>
            </p:cNvPr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6403975" y="1333500"/>
              <a:ext cx="139700" cy="57150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52" name="Freeform 501">
              <a:extLst>
                <a:ext uri="{FF2B5EF4-FFF2-40B4-BE49-F238E27FC236}">
                  <a16:creationId xmlns:a16="http://schemas.microsoft.com/office/drawing/2014/main" xmlns="" id="{BAD132EA-29D4-4ED9-81DF-EE1DAB26F5F9}"/>
                </a:ext>
              </a:extLst>
            </p:cNvPr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6564313" y="1341438"/>
              <a:ext cx="95250" cy="57150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53" name="Freeform 502">
              <a:extLst>
                <a:ext uri="{FF2B5EF4-FFF2-40B4-BE49-F238E27FC236}">
                  <a16:creationId xmlns:a16="http://schemas.microsoft.com/office/drawing/2014/main" xmlns="" id="{7F966756-2432-42A7-9A73-F0BF55ACF155}"/>
                </a:ext>
              </a:extLst>
            </p:cNvPr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6524625" y="1389063"/>
              <a:ext cx="63500" cy="58737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54" name="Freeform 503">
              <a:extLst>
                <a:ext uri="{FF2B5EF4-FFF2-40B4-BE49-F238E27FC236}">
                  <a16:creationId xmlns:a16="http://schemas.microsoft.com/office/drawing/2014/main" xmlns="" id="{9B1115EA-2916-4769-A5C6-EDA6FA097BDE}"/>
                </a:ext>
              </a:extLst>
            </p:cNvPr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6503988" y="1385888"/>
              <a:ext cx="20637" cy="58737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55" name="Line 504">
              <a:extLst>
                <a:ext uri="{FF2B5EF4-FFF2-40B4-BE49-F238E27FC236}">
                  <a16:creationId xmlns:a16="http://schemas.microsoft.com/office/drawing/2014/main" xmlns="" id="{2C284F50-CFE0-4F6E-A0CC-AEC0A0D546D2}"/>
                </a:ext>
              </a:extLst>
            </p:cNvPr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6505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56" name="Freeform 505">
              <a:extLst>
                <a:ext uri="{FF2B5EF4-FFF2-40B4-BE49-F238E27FC236}">
                  <a16:creationId xmlns:a16="http://schemas.microsoft.com/office/drawing/2014/main" xmlns="" id="{CEDC25A3-1733-4877-A84B-A5CB2B80FC7A}"/>
                </a:ext>
              </a:extLst>
            </p:cNvPr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5675313" y="1312863"/>
              <a:ext cx="11112" cy="55562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57" name="Freeform 506">
              <a:extLst>
                <a:ext uri="{FF2B5EF4-FFF2-40B4-BE49-F238E27FC236}">
                  <a16:creationId xmlns:a16="http://schemas.microsoft.com/office/drawing/2014/main" xmlns="" id="{6E6EC335-52D3-461B-959D-23A19EB828EE}"/>
                </a:ext>
              </a:extLst>
            </p:cNvPr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6424613" y="1384300"/>
              <a:ext cx="9525" cy="57150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58" name="Freeform 507">
              <a:extLst>
                <a:ext uri="{FF2B5EF4-FFF2-40B4-BE49-F238E27FC236}">
                  <a16:creationId xmlns:a16="http://schemas.microsoft.com/office/drawing/2014/main" xmlns="" id="{F5983550-09B0-4E10-BBC2-465A24284662}"/>
                </a:ext>
              </a:extLst>
            </p:cNvPr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6378575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59" name="Freeform 508">
              <a:extLst>
                <a:ext uri="{FF2B5EF4-FFF2-40B4-BE49-F238E27FC236}">
                  <a16:creationId xmlns:a16="http://schemas.microsoft.com/office/drawing/2014/main" xmlns="" id="{FC2DBBF9-83C6-4889-B958-9C9E17DC9B3C}"/>
                </a:ext>
              </a:extLst>
            </p:cNvPr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6878638" y="1917700"/>
              <a:ext cx="12700" cy="5873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60" name="Freeform 509">
              <a:extLst>
                <a:ext uri="{FF2B5EF4-FFF2-40B4-BE49-F238E27FC236}">
                  <a16:creationId xmlns:a16="http://schemas.microsoft.com/office/drawing/2014/main" xmlns="" id="{ED26B0FF-D216-4387-B1CB-112CE538BB51}"/>
                </a:ext>
              </a:extLst>
            </p:cNvPr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7172325" y="1439863"/>
              <a:ext cx="55563" cy="58737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61" name="Freeform 510">
              <a:extLst>
                <a:ext uri="{FF2B5EF4-FFF2-40B4-BE49-F238E27FC236}">
                  <a16:creationId xmlns:a16="http://schemas.microsoft.com/office/drawing/2014/main" xmlns="" id="{A893932E-33A9-453B-97C5-30F96F5B243F}"/>
                </a:ext>
              </a:extLst>
            </p:cNvPr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7308850" y="1792288"/>
              <a:ext cx="14288" cy="57150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62" name="Freeform 511">
              <a:extLst>
                <a:ext uri="{FF2B5EF4-FFF2-40B4-BE49-F238E27FC236}">
                  <a16:creationId xmlns:a16="http://schemas.microsoft.com/office/drawing/2014/main" xmlns="" id="{0A8B1018-D9A8-4531-9B4A-E635EFC7111B}"/>
                </a:ext>
              </a:extLst>
            </p:cNvPr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7458075" y="1905000"/>
              <a:ext cx="42863" cy="603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63" name="Freeform 512">
              <a:extLst>
                <a:ext uri="{FF2B5EF4-FFF2-40B4-BE49-F238E27FC236}">
                  <a16:creationId xmlns:a16="http://schemas.microsoft.com/office/drawing/2014/main" xmlns="" id="{B5292D99-2AE2-4355-8950-BEFDED7614A8}"/>
                </a:ext>
              </a:extLst>
            </p:cNvPr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7508875" y="1920875"/>
              <a:ext cx="19050" cy="5873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64" name="Freeform 513">
              <a:extLst>
                <a:ext uri="{FF2B5EF4-FFF2-40B4-BE49-F238E27FC236}">
                  <a16:creationId xmlns:a16="http://schemas.microsoft.com/office/drawing/2014/main" xmlns="" id="{9A9B6B20-BEB9-4D02-8ADC-0D72070057AB}"/>
                </a:ext>
              </a:extLst>
            </p:cNvPr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7373938" y="2047875"/>
              <a:ext cx="14287" cy="57150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65" name="Freeform 514">
              <a:extLst>
                <a:ext uri="{FF2B5EF4-FFF2-40B4-BE49-F238E27FC236}">
                  <a16:creationId xmlns:a16="http://schemas.microsoft.com/office/drawing/2014/main" xmlns="" id="{84AF8874-8794-4F3D-81E2-9191AE75CF98}"/>
                </a:ext>
              </a:extLst>
            </p:cNvPr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7385050" y="2076450"/>
              <a:ext cx="3175" cy="603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66" name="Freeform 515">
              <a:extLst>
                <a:ext uri="{FF2B5EF4-FFF2-40B4-BE49-F238E27FC236}">
                  <a16:creationId xmlns:a16="http://schemas.microsoft.com/office/drawing/2014/main" xmlns="" id="{D349651C-89A9-4C96-82BB-F32EBBC3D64A}"/>
                </a:ext>
              </a:extLst>
            </p:cNvPr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7372350" y="2159000"/>
              <a:ext cx="9525" cy="55563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67" name="Freeform 516">
              <a:extLst>
                <a:ext uri="{FF2B5EF4-FFF2-40B4-BE49-F238E27FC236}">
                  <a16:creationId xmlns:a16="http://schemas.microsoft.com/office/drawing/2014/main" xmlns="" id="{BD640172-0C80-45B9-84BF-9AD9C31133E9}"/>
                </a:ext>
              </a:extLst>
            </p:cNvPr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7350125" y="2193925"/>
              <a:ext cx="0" cy="5873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68" name="Freeform 517">
              <a:extLst>
                <a:ext uri="{FF2B5EF4-FFF2-40B4-BE49-F238E27FC236}">
                  <a16:creationId xmlns:a16="http://schemas.microsoft.com/office/drawing/2014/main" xmlns="" id="{A715CDD7-384B-49DD-AD07-DA70097A1965}"/>
                </a:ext>
              </a:extLst>
            </p:cNvPr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7350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69" name="Freeform 518">
              <a:extLst>
                <a:ext uri="{FF2B5EF4-FFF2-40B4-BE49-F238E27FC236}">
                  <a16:creationId xmlns:a16="http://schemas.microsoft.com/office/drawing/2014/main" xmlns="" id="{49FCF20D-22C5-4052-9EA9-5799196356DB}"/>
                </a:ext>
              </a:extLst>
            </p:cNvPr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7104063" y="1781175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70" name="Freeform 519">
              <a:extLst>
                <a:ext uri="{FF2B5EF4-FFF2-40B4-BE49-F238E27FC236}">
                  <a16:creationId xmlns:a16="http://schemas.microsoft.com/office/drawing/2014/main" xmlns="" id="{9DE6D151-F5FF-4691-8EE5-18A1414DCA4B}"/>
                </a:ext>
              </a:extLst>
            </p:cNvPr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4419600" y="1920875"/>
              <a:ext cx="47625" cy="5873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71" name="Freeform 520">
              <a:extLst>
                <a:ext uri="{FF2B5EF4-FFF2-40B4-BE49-F238E27FC236}">
                  <a16:creationId xmlns:a16="http://schemas.microsoft.com/office/drawing/2014/main" xmlns="" id="{A76C4C4A-1CB3-4EC0-90B8-1E5FC5E67A4D}"/>
                </a:ext>
              </a:extLst>
            </p:cNvPr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868863" y="1512888"/>
              <a:ext cx="42862" cy="58737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72" name="Freeform 521">
              <a:extLst>
                <a:ext uri="{FF2B5EF4-FFF2-40B4-BE49-F238E27FC236}">
                  <a16:creationId xmlns:a16="http://schemas.microsoft.com/office/drawing/2014/main" xmlns="" id="{60D8B7D7-611D-4D98-9F75-204E4EAAB33F}"/>
                </a:ext>
              </a:extLst>
            </p:cNvPr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4903788" y="1325563"/>
              <a:ext cx="228600" cy="163512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73" name="Freeform 522">
              <a:extLst>
                <a:ext uri="{FF2B5EF4-FFF2-40B4-BE49-F238E27FC236}">
                  <a16:creationId xmlns:a16="http://schemas.microsoft.com/office/drawing/2014/main" xmlns="" id="{A70B97F1-946F-40B0-8643-02160463639E}"/>
                </a:ext>
              </a:extLst>
            </p:cNvPr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695825" y="1636713"/>
              <a:ext cx="31750" cy="55562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74" name="Freeform 523">
              <a:extLst>
                <a:ext uri="{FF2B5EF4-FFF2-40B4-BE49-F238E27FC236}">
                  <a16:creationId xmlns:a16="http://schemas.microsoft.com/office/drawing/2014/main" xmlns="" id="{3CE425FB-59FE-4F38-AB7F-3FE9D6FE44BB}"/>
                </a:ext>
              </a:extLst>
            </p:cNvPr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7000875" y="1933575"/>
              <a:ext cx="196850" cy="268288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grpSp>
          <p:nvGrpSpPr>
            <p:cNvPr id="375" name="Group 524">
              <a:extLst>
                <a:ext uri="{FF2B5EF4-FFF2-40B4-BE49-F238E27FC236}">
                  <a16:creationId xmlns:a16="http://schemas.microsoft.com/office/drawing/2014/main" xmlns="" id="{CEAC6765-2CBB-44AF-949B-A386F36B011D}"/>
                </a:ext>
              </a:extLst>
            </p:cNvPr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5791200" y="1889125"/>
              <a:ext cx="671513" cy="384175"/>
              <a:chOff x="4115" y="1551"/>
              <a:chExt cx="504" cy="244"/>
            </a:xfrm>
          </p:grpSpPr>
          <p:sp>
            <p:nvSpPr>
              <p:cNvPr id="400" name="Freeform 525">
                <a:extLst>
                  <a:ext uri="{FF2B5EF4-FFF2-40B4-BE49-F238E27FC236}">
                    <a16:creationId xmlns:a16="http://schemas.microsoft.com/office/drawing/2014/main" xmlns="" id="{41E9467F-0201-4094-AE77-BB50B2D971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401" name="Freeform 526">
                <a:extLst>
                  <a:ext uri="{FF2B5EF4-FFF2-40B4-BE49-F238E27FC236}">
                    <a16:creationId xmlns:a16="http://schemas.microsoft.com/office/drawing/2014/main" xmlns="" id="{50767A37-CF50-4D8A-A328-DC5C384820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CL"/>
              </a:p>
            </p:txBody>
          </p:sp>
        </p:grpSp>
        <p:sp>
          <p:nvSpPr>
            <p:cNvPr id="376" name="Freeform 527">
              <a:extLst>
                <a:ext uri="{FF2B5EF4-FFF2-40B4-BE49-F238E27FC236}">
                  <a16:creationId xmlns:a16="http://schemas.microsoft.com/office/drawing/2014/main" xmlns="" id="{2591FC27-D352-41E1-9F67-BDD01665E576}"/>
                </a:ext>
              </a:extLst>
            </p:cNvPr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4848225" y="2638425"/>
              <a:ext cx="530225" cy="511175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77" name="Freeform 528">
              <a:extLst>
                <a:ext uri="{FF2B5EF4-FFF2-40B4-BE49-F238E27FC236}">
                  <a16:creationId xmlns:a16="http://schemas.microsoft.com/office/drawing/2014/main" xmlns="" id="{61772CFE-AB2B-4249-8D25-2191ACD3930C}"/>
                </a:ext>
              </a:extLst>
            </p:cNvPr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322763" y="2182813"/>
              <a:ext cx="57150" cy="57150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78" name="Freeform 529">
              <a:extLst>
                <a:ext uri="{FF2B5EF4-FFF2-40B4-BE49-F238E27FC236}">
                  <a16:creationId xmlns:a16="http://schemas.microsoft.com/office/drawing/2014/main" xmlns="" id="{D839C68E-EEBE-4B15-8A6D-2752B14FD4B0}"/>
                </a:ext>
              </a:extLst>
            </p:cNvPr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4062413" y="2395538"/>
              <a:ext cx="15875" cy="57150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79" name="Freeform 530">
              <a:extLst>
                <a:ext uri="{FF2B5EF4-FFF2-40B4-BE49-F238E27FC236}">
                  <a16:creationId xmlns:a16="http://schemas.microsoft.com/office/drawing/2014/main" xmlns="" id="{7A7836C8-4365-4BC4-B92F-1612D5830D69}"/>
                </a:ext>
              </a:extLst>
            </p:cNvPr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3654425" y="2741613"/>
              <a:ext cx="28575" cy="57150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80" name="Freeform 531">
              <a:extLst>
                <a:ext uri="{FF2B5EF4-FFF2-40B4-BE49-F238E27FC236}">
                  <a16:creationId xmlns:a16="http://schemas.microsoft.com/office/drawing/2014/main" xmlns="" id="{6A4E8D40-AC8C-4F87-8752-5AB0470BB6A0}"/>
                </a:ext>
              </a:extLst>
            </p:cNvPr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3595688" y="2757488"/>
              <a:ext cx="23812" cy="603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81" name="Freeform 532">
              <a:extLst>
                <a:ext uri="{FF2B5EF4-FFF2-40B4-BE49-F238E27FC236}">
                  <a16:creationId xmlns:a16="http://schemas.microsoft.com/office/drawing/2014/main" xmlns="" id="{070D70FD-64B8-4A09-A028-70734B6F8AC7}"/>
                </a:ext>
              </a:extLst>
            </p:cNvPr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3570288" y="2751138"/>
              <a:ext cx="6350" cy="57150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82" name="Freeform 533">
              <a:extLst>
                <a:ext uri="{FF2B5EF4-FFF2-40B4-BE49-F238E27FC236}">
                  <a16:creationId xmlns:a16="http://schemas.microsoft.com/office/drawing/2014/main" xmlns="" id="{5393F3CC-0EEB-4BA4-A9E3-165B593A849D}"/>
                </a:ext>
              </a:extLst>
            </p:cNvPr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4841875" y="2479675"/>
              <a:ext cx="174625" cy="158750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83" name="Freeform 534">
              <a:extLst>
                <a:ext uri="{FF2B5EF4-FFF2-40B4-BE49-F238E27FC236}">
                  <a16:creationId xmlns:a16="http://schemas.microsoft.com/office/drawing/2014/main" xmlns="" id="{A20243CF-955E-403B-A1AC-8FE017518D72}"/>
                </a:ext>
              </a:extLst>
            </p:cNvPr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6935788" y="2860675"/>
              <a:ext cx="42862" cy="79375"/>
            </a:xfrm>
            <a:custGeom>
              <a:avLst/>
              <a:gdLst>
                <a:gd name="T0" fmla="*/ 100 w 100"/>
                <a:gd name="T1" fmla="*/ 1 h 155"/>
                <a:gd name="T2" fmla="*/ 100 w 100"/>
                <a:gd name="T3" fmla="*/ 30 h 155"/>
                <a:gd name="T4" fmla="*/ 100 w 100"/>
                <a:gd name="T5" fmla="*/ 55 h 155"/>
                <a:gd name="T6" fmla="*/ 100 w 100"/>
                <a:gd name="T7" fmla="*/ 78 h 155"/>
                <a:gd name="T8" fmla="*/ 100 w 100"/>
                <a:gd name="T9" fmla="*/ 99 h 155"/>
                <a:gd name="T10" fmla="*/ 98 w 100"/>
                <a:gd name="T11" fmla="*/ 109 h 155"/>
                <a:gd name="T12" fmla="*/ 94 w 100"/>
                <a:gd name="T13" fmla="*/ 118 h 155"/>
                <a:gd name="T14" fmla="*/ 89 w 100"/>
                <a:gd name="T15" fmla="*/ 128 h 155"/>
                <a:gd name="T16" fmla="*/ 82 w 100"/>
                <a:gd name="T17" fmla="*/ 137 h 155"/>
                <a:gd name="T18" fmla="*/ 73 w 100"/>
                <a:gd name="T19" fmla="*/ 144 h 155"/>
                <a:gd name="T20" fmla="*/ 62 w 100"/>
                <a:gd name="T21" fmla="*/ 150 h 155"/>
                <a:gd name="T22" fmla="*/ 57 w 100"/>
                <a:gd name="T23" fmla="*/ 152 h 155"/>
                <a:gd name="T24" fmla="*/ 51 w 100"/>
                <a:gd name="T25" fmla="*/ 154 h 155"/>
                <a:gd name="T26" fmla="*/ 46 w 100"/>
                <a:gd name="T27" fmla="*/ 155 h 155"/>
                <a:gd name="T28" fmla="*/ 39 w 100"/>
                <a:gd name="T29" fmla="*/ 155 h 155"/>
                <a:gd name="T30" fmla="*/ 35 w 100"/>
                <a:gd name="T31" fmla="*/ 154 h 155"/>
                <a:gd name="T32" fmla="*/ 30 w 100"/>
                <a:gd name="T33" fmla="*/ 153 h 155"/>
                <a:gd name="T34" fmla="*/ 26 w 100"/>
                <a:gd name="T35" fmla="*/ 151 h 155"/>
                <a:gd name="T36" fmla="*/ 22 w 100"/>
                <a:gd name="T37" fmla="*/ 149 h 155"/>
                <a:gd name="T38" fmla="*/ 15 w 100"/>
                <a:gd name="T39" fmla="*/ 142 h 155"/>
                <a:gd name="T40" fmla="*/ 9 w 100"/>
                <a:gd name="T41" fmla="*/ 134 h 155"/>
                <a:gd name="T42" fmla="*/ 5 w 100"/>
                <a:gd name="T43" fmla="*/ 124 h 155"/>
                <a:gd name="T44" fmla="*/ 2 w 100"/>
                <a:gd name="T45" fmla="*/ 113 h 155"/>
                <a:gd name="T46" fmla="*/ 0 w 100"/>
                <a:gd name="T47" fmla="*/ 103 h 155"/>
                <a:gd name="T48" fmla="*/ 0 w 100"/>
                <a:gd name="T49" fmla="*/ 93 h 155"/>
                <a:gd name="T50" fmla="*/ 0 w 100"/>
                <a:gd name="T51" fmla="*/ 77 h 155"/>
                <a:gd name="T52" fmla="*/ 0 w 100"/>
                <a:gd name="T53" fmla="*/ 65 h 155"/>
                <a:gd name="T54" fmla="*/ 0 w 100"/>
                <a:gd name="T55" fmla="*/ 56 h 155"/>
                <a:gd name="T56" fmla="*/ 0 w 100"/>
                <a:gd name="T57" fmla="*/ 50 h 155"/>
                <a:gd name="T58" fmla="*/ 15 w 100"/>
                <a:gd name="T59" fmla="*/ 50 h 155"/>
                <a:gd name="T60" fmla="*/ 26 w 100"/>
                <a:gd name="T61" fmla="*/ 50 h 155"/>
                <a:gd name="T62" fmla="*/ 26 w 100"/>
                <a:gd name="T63" fmla="*/ 40 h 155"/>
                <a:gd name="T64" fmla="*/ 27 w 100"/>
                <a:gd name="T65" fmla="*/ 31 h 155"/>
                <a:gd name="T66" fmla="*/ 29 w 100"/>
                <a:gd name="T67" fmla="*/ 23 h 155"/>
                <a:gd name="T68" fmla="*/ 31 w 100"/>
                <a:gd name="T69" fmla="*/ 17 h 155"/>
                <a:gd name="T70" fmla="*/ 35 w 100"/>
                <a:gd name="T71" fmla="*/ 12 h 155"/>
                <a:gd name="T72" fmla="*/ 39 w 100"/>
                <a:gd name="T73" fmla="*/ 7 h 155"/>
                <a:gd name="T74" fmla="*/ 42 w 100"/>
                <a:gd name="T75" fmla="*/ 4 h 155"/>
                <a:gd name="T76" fmla="*/ 48 w 100"/>
                <a:gd name="T77" fmla="*/ 2 h 155"/>
                <a:gd name="T78" fmla="*/ 59 w 100"/>
                <a:gd name="T79" fmla="*/ 0 h 155"/>
                <a:gd name="T80" fmla="*/ 71 w 100"/>
                <a:gd name="T81" fmla="*/ 0 h 155"/>
                <a:gd name="T82" fmla="*/ 84 w 100"/>
                <a:gd name="T83" fmla="*/ 0 h 155"/>
                <a:gd name="T84" fmla="*/ 100 w 100"/>
                <a:gd name="T85" fmla="*/ 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grpSp>
          <p:nvGrpSpPr>
            <p:cNvPr id="384" name="Group 535">
              <a:extLst>
                <a:ext uri="{FF2B5EF4-FFF2-40B4-BE49-F238E27FC236}">
                  <a16:creationId xmlns:a16="http://schemas.microsoft.com/office/drawing/2014/main" xmlns="" id="{F1B68A51-328A-4173-953C-F97916D8A2F1}"/>
                </a:ext>
              </a:extLst>
            </p:cNvPr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4583113" y="2328863"/>
              <a:ext cx="482600" cy="201612"/>
              <a:chOff x="3289" y="1830"/>
              <a:chExt cx="363" cy="128"/>
            </a:xfrm>
          </p:grpSpPr>
          <p:sp>
            <p:nvSpPr>
              <p:cNvPr id="395" name="Freeform 536">
                <a:extLst>
                  <a:ext uri="{FF2B5EF4-FFF2-40B4-BE49-F238E27FC236}">
                    <a16:creationId xmlns:a16="http://schemas.microsoft.com/office/drawing/2014/main" xmlns="" id="{FF508A0B-E304-4650-9036-1A3453B3C8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396" name="Freeform 537">
                <a:extLst>
                  <a:ext uri="{FF2B5EF4-FFF2-40B4-BE49-F238E27FC236}">
                    <a16:creationId xmlns:a16="http://schemas.microsoft.com/office/drawing/2014/main" xmlns="" id="{E1777765-1802-4F69-9161-2EDB7E743D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397" name="Freeform 538">
                <a:extLst>
                  <a:ext uri="{FF2B5EF4-FFF2-40B4-BE49-F238E27FC236}">
                    <a16:creationId xmlns:a16="http://schemas.microsoft.com/office/drawing/2014/main" xmlns="" id="{D81A2D32-BFD4-4923-A85D-0B81D42FD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398" name="Freeform 539">
                <a:extLst>
                  <a:ext uri="{FF2B5EF4-FFF2-40B4-BE49-F238E27FC236}">
                    <a16:creationId xmlns:a16="http://schemas.microsoft.com/office/drawing/2014/main" xmlns="" id="{4FC22AC5-D6D9-4E06-991D-1CAA61B855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  <p:sp>
            <p:nvSpPr>
              <p:cNvPr id="399" name="Freeform 540">
                <a:extLst>
                  <a:ext uri="{FF2B5EF4-FFF2-40B4-BE49-F238E27FC236}">
                    <a16:creationId xmlns:a16="http://schemas.microsoft.com/office/drawing/2014/main" xmlns="" id="{D6F95D4A-908D-4892-83BF-62629750C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CL"/>
              </a:p>
            </p:txBody>
          </p:sp>
        </p:grpSp>
        <p:sp>
          <p:nvSpPr>
            <p:cNvPr id="385" name="Freeform 541">
              <a:extLst>
                <a:ext uri="{FF2B5EF4-FFF2-40B4-BE49-F238E27FC236}">
                  <a16:creationId xmlns:a16="http://schemas.microsoft.com/office/drawing/2014/main" xmlns="" id="{2B81F3C7-CCA3-4749-A579-9A7EE5F3851A}"/>
                </a:ext>
              </a:extLst>
            </p:cNvPr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2571750" y="3481388"/>
              <a:ext cx="10001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86" name="Freeform 542">
              <a:extLst>
                <a:ext uri="{FF2B5EF4-FFF2-40B4-BE49-F238E27FC236}">
                  <a16:creationId xmlns:a16="http://schemas.microsoft.com/office/drawing/2014/main" xmlns="" id="{3687F936-C110-40D3-89EC-797B513C1185}"/>
                </a:ext>
              </a:extLst>
            </p:cNvPr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6516688" y="2917825"/>
              <a:ext cx="207962" cy="458788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87" name="Freeform 543">
              <a:extLst>
                <a:ext uri="{FF2B5EF4-FFF2-40B4-BE49-F238E27FC236}">
                  <a16:creationId xmlns:a16="http://schemas.microsoft.com/office/drawing/2014/main" xmlns="" id="{51B4A724-AE70-46BC-8DF2-EEDE78658A41}"/>
                </a:ext>
              </a:extLst>
            </p:cNvPr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6604000" y="3603625"/>
              <a:ext cx="25400" cy="57150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88" name="Freeform 544">
              <a:extLst>
                <a:ext uri="{FF2B5EF4-FFF2-40B4-BE49-F238E27FC236}">
                  <a16:creationId xmlns:a16="http://schemas.microsoft.com/office/drawing/2014/main" xmlns="" id="{474B7AB1-0782-4956-A6BF-0AABBB8BACA4}"/>
                </a:ext>
              </a:extLst>
            </p:cNvPr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5295900" y="2862263"/>
              <a:ext cx="174625" cy="271462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89" name="Freeform 545">
              <a:extLst>
                <a:ext uri="{FF2B5EF4-FFF2-40B4-BE49-F238E27FC236}">
                  <a16:creationId xmlns:a16="http://schemas.microsoft.com/office/drawing/2014/main" xmlns="" id="{6C10B512-8D92-40E7-852A-C5AD32BD6C78}"/>
                </a:ext>
              </a:extLst>
            </p:cNvPr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4022725" y="2916238"/>
              <a:ext cx="376238" cy="385762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390" name="Freeform 546">
              <a:extLst>
                <a:ext uri="{FF2B5EF4-FFF2-40B4-BE49-F238E27FC236}">
                  <a16:creationId xmlns:a16="http://schemas.microsoft.com/office/drawing/2014/main" xmlns="" id="{530F552D-22EE-4FF7-86EA-22DE4D511723}"/>
                </a:ext>
              </a:extLst>
            </p:cNvPr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3692525" y="2533650"/>
              <a:ext cx="300038" cy="260350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91" name="Freeform 547">
              <a:extLst>
                <a:ext uri="{FF2B5EF4-FFF2-40B4-BE49-F238E27FC236}">
                  <a16:creationId xmlns:a16="http://schemas.microsoft.com/office/drawing/2014/main" xmlns="" id="{17D894DB-CCBA-421A-9077-DABDA3F994D1}"/>
                </a:ext>
              </a:extLst>
            </p:cNvPr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4392613" y="1463675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92" name="Freeform 548">
              <a:extLst>
                <a:ext uri="{FF2B5EF4-FFF2-40B4-BE49-F238E27FC236}">
                  <a16:creationId xmlns:a16="http://schemas.microsoft.com/office/drawing/2014/main" xmlns="" id="{57385E01-F4DB-4442-A955-2633B1BE926A}"/>
                </a:ext>
              </a:extLst>
            </p:cNvPr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4903788" y="1447800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93" name="Freeform 549">
              <a:extLst>
                <a:ext uri="{FF2B5EF4-FFF2-40B4-BE49-F238E27FC236}">
                  <a16:creationId xmlns:a16="http://schemas.microsoft.com/office/drawing/2014/main" xmlns="" id="{BE9B64F8-1DD1-4B12-8852-5B40212B7DD5}"/>
                </a:ext>
              </a:extLst>
            </p:cNvPr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5046663" y="14303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  <p:sp>
          <p:nvSpPr>
            <p:cNvPr id="394" name="Freeform 550">
              <a:extLst>
                <a:ext uri="{FF2B5EF4-FFF2-40B4-BE49-F238E27FC236}">
                  <a16:creationId xmlns:a16="http://schemas.microsoft.com/office/drawing/2014/main" xmlns="" id="{2F6802B5-59AC-4931-9498-0FB91BC069DE}"/>
                </a:ext>
              </a:extLst>
            </p:cNvPr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5083175" y="14382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/>
            </a:p>
          </p:txBody>
        </p:sp>
      </p:grpSp>
      <p:grpSp>
        <p:nvGrpSpPr>
          <p:cNvPr id="563" name="Grupo 562">
            <a:extLst>
              <a:ext uri="{FF2B5EF4-FFF2-40B4-BE49-F238E27FC236}">
                <a16:creationId xmlns:a16="http://schemas.microsoft.com/office/drawing/2014/main" xmlns="" id="{B377EAEF-CAD9-49AB-AE30-DDE11CCA9110}"/>
              </a:ext>
            </a:extLst>
          </p:cNvPr>
          <p:cNvGrpSpPr/>
          <p:nvPr/>
        </p:nvGrpSpPr>
        <p:grpSpPr>
          <a:xfrm>
            <a:off x="3118251" y="4336608"/>
            <a:ext cx="248940" cy="229016"/>
            <a:chOff x="3146472" y="4176990"/>
            <a:chExt cx="321171" cy="308572"/>
          </a:xfrm>
        </p:grpSpPr>
        <p:sp>
          <p:nvSpPr>
            <p:cNvPr id="564" name="Lágrima 563">
              <a:extLst>
                <a:ext uri="{FF2B5EF4-FFF2-40B4-BE49-F238E27FC236}">
                  <a16:creationId xmlns:a16="http://schemas.microsoft.com/office/drawing/2014/main" xmlns="" id="{C8584EB0-99CF-4259-BD86-ED1FD135846F}"/>
                </a:ext>
              </a:extLst>
            </p:cNvPr>
            <p:cNvSpPr/>
            <p:nvPr/>
          </p:nvSpPr>
          <p:spPr>
            <a:xfrm rot="8164978">
              <a:off x="3146472" y="4176990"/>
              <a:ext cx="321171" cy="308572"/>
            </a:xfrm>
            <a:prstGeom prst="teardrop">
              <a:avLst>
                <a:gd name="adj" fmla="val 132053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s-CL"/>
            </a:p>
          </p:txBody>
        </p:sp>
        <p:sp>
          <p:nvSpPr>
            <p:cNvPr id="565" name="Diagrama de flujo: conector 564">
              <a:extLst>
                <a:ext uri="{FF2B5EF4-FFF2-40B4-BE49-F238E27FC236}">
                  <a16:creationId xmlns:a16="http://schemas.microsoft.com/office/drawing/2014/main" xmlns="" id="{0E723E56-A246-4BDF-9597-0DC138AEA2B2}"/>
                </a:ext>
              </a:extLst>
            </p:cNvPr>
            <p:cNvSpPr/>
            <p:nvPr/>
          </p:nvSpPr>
          <p:spPr>
            <a:xfrm>
              <a:off x="3218703" y="4256546"/>
              <a:ext cx="172939" cy="165991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s-CL"/>
            </a:p>
          </p:txBody>
        </p:sp>
      </p:grpSp>
      <p:grpSp>
        <p:nvGrpSpPr>
          <p:cNvPr id="566" name="Grupo 565">
            <a:extLst>
              <a:ext uri="{FF2B5EF4-FFF2-40B4-BE49-F238E27FC236}">
                <a16:creationId xmlns:a16="http://schemas.microsoft.com/office/drawing/2014/main" xmlns="" id="{436E5790-D83E-4AB7-9C4B-D862B3F409C9}"/>
              </a:ext>
            </a:extLst>
          </p:cNvPr>
          <p:cNvGrpSpPr/>
          <p:nvPr/>
        </p:nvGrpSpPr>
        <p:grpSpPr>
          <a:xfrm>
            <a:off x="2979622" y="3935253"/>
            <a:ext cx="248940" cy="229016"/>
            <a:chOff x="3146472" y="4176990"/>
            <a:chExt cx="321171" cy="308572"/>
          </a:xfrm>
        </p:grpSpPr>
        <p:sp>
          <p:nvSpPr>
            <p:cNvPr id="567" name="Lágrima 566">
              <a:extLst>
                <a:ext uri="{FF2B5EF4-FFF2-40B4-BE49-F238E27FC236}">
                  <a16:creationId xmlns:a16="http://schemas.microsoft.com/office/drawing/2014/main" xmlns="" id="{055874AC-D00C-47DB-9576-5BEAF0E2ADDE}"/>
                </a:ext>
              </a:extLst>
            </p:cNvPr>
            <p:cNvSpPr/>
            <p:nvPr/>
          </p:nvSpPr>
          <p:spPr>
            <a:xfrm rot="8164978">
              <a:off x="3146472" y="4176990"/>
              <a:ext cx="321171" cy="308572"/>
            </a:xfrm>
            <a:prstGeom prst="teardrop">
              <a:avLst>
                <a:gd name="adj" fmla="val 132053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568" name="Diagrama de flujo: conector 567">
              <a:extLst>
                <a:ext uri="{FF2B5EF4-FFF2-40B4-BE49-F238E27FC236}">
                  <a16:creationId xmlns:a16="http://schemas.microsoft.com/office/drawing/2014/main" xmlns="" id="{C341D0A8-6E5D-42C3-B820-9917BD657903}"/>
                </a:ext>
              </a:extLst>
            </p:cNvPr>
            <p:cNvSpPr/>
            <p:nvPr/>
          </p:nvSpPr>
          <p:spPr>
            <a:xfrm>
              <a:off x="3218703" y="4256546"/>
              <a:ext cx="172939" cy="165991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569" name="Grupo 568">
            <a:extLst>
              <a:ext uri="{FF2B5EF4-FFF2-40B4-BE49-F238E27FC236}">
                <a16:creationId xmlns:a16="http://schemas.microsoft.com/office/drawing/2014/main" xmlns="" id="{B279313A-6DD1-47D8-95DE-68F43A543646}"/>
              </a:ext>
            </a:extLst>
          </p:cNvPr>
          <p:cNvGrpSpPr/>
          <p:nvPr/>
        </p:nvGrpSpPr>
        <p:grpSpPr>
          <a:xfrm>
            <a:off x="3138479" y="3519234"/>
            <a:ext cx="248940" cy="229016"/>
            <a:chOff x="3146472" y="4176990"/>
            <a:chExt cx="321171" cy="308572"/>
          </a:xfrm>
        </p:grpSpPr>
        <p:sp>
          <p:nvSpPr>
            <p:cNvPr id="570" name="Lágrima 569">
              <a:extLst>
                <a:ext uri="{FF2B5EF4-FFF2-40B4-BE49-F238E27FC236}">
                  <a16:creationId xmlns:a16="http://schemas.microsoft.com/office/drawing/2014/main" xmlns="" id="{3E316AD2-9B59-4E7C-9DC7-FE790C6A3264}"/>
                </a:ext>
              </a:extLst>
            </p:cNvPr>
            <p:cNvSpPr/>
            <p:nvPr/>
          </p:nvSpPr>
          <p:spPr>
            <a:xfrm rot="8164978">
              <a:off x="3146472" y="4176990"/>
              <a:ext cx="321171" cy="308572"/>
            </a:xfrm>
            <a:prstGeom prst="teardrop">
              <a:avLst>
                <a:gd name="adj" fmla="val 132053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571" name="Diagrama de flujo: conector 570">
              <a:extLst>
                <a:ext uri="{FF2B5EF4-FFF2-40B4-BE49-F238E27FC236}">
                  <a16:creationId xmlns:a16="http://schemas.microsoft.com/office/drawing/2014/main" xmlns="" id="{D17D6C21-2F1C-4E1D-A537-77F713F10E4A}"/>
                </a:ext>
              </a:extLst>
            </p:cNvPr>
            <p:cNvSpPr/>
            <p:nvPr/>
          </p:nvSpPr>
          <p:spPr>
            <a:xfrm>
              <a:off x="3218703" y="4256546"/>
              <a:ext cx="172939" cy="165991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572" name="Grupo 571">
            <a:extLst>
              <a:ext uri="{FF2B5EF4-FFF2-40B4-BE49-F238E27FC236}">
                <a16:creationId xmlns:a16="http://schemas.microsoft.com/office/drawing/2014/main" xmlns="" id="{B2F0AAA5-9886-464D-8430-5E94D5E4B46F}"/>
              </a:ext>
            </a:extLst>
          </p:cNvPr>
          <p:cNvGrpSpPr/>
          <p:nvPr/>
        </p:nvGrpSpPr>
        <p:grpSpPr>
          <a:xfrm>
            <a:off x="6726592" y="2604642"/>
            <a:ext cx="248940" cy="229016"/>
            <a:chOff x="3146472" y="4176990"/>
            <a:chExt cx="321171" cy="308572"/>
          </a:xfrm>
        </p:grpSpPr>
        <p:sp>
          <p:nvSpPr>
            <p:cNvPr id="573" name="Lágrima 572">
              <a:extLst>
                <a:ext uri="{FF2B5EF4-FFF2-40B4-BE49-F238E27FC236}">
                  <a16:creationId xmlns:a16="http://schemas.microsoft.com/office/drawing/2014/main" xmlns="" id="{9527051F-6EE1-46AF-9326-4EE10E74E15E}"/>
                </a:ext>
              </a:extLst>
            </p:cNvPr>
            <p:cNvSpPr/>
            <p:nvPr/>
          </p:nvSpPr>
          <p:spPr>
            <a:xfrm rot="8164978">
              <a:off x="3146472" y="4176990"/>
              <a:ext cx="321171" cy="308572"/>
            </a:xfrm>
            <a:prstGeom prst="teardrop">
              <a:avLst>
                <a:gd name="adj" fmla="val 132053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574" name="Diagrama de flujo: conector 573">
              <a:extLst>
                <a:ext uri="{FF2B5EF4-FFF2-40B4-BE49-F238E27FC236}">
                  <a16:creationId xmlns:a16="http://schemas.microsoft.com/office/drawing/2014/main" xmlns="" id="{6D8F3C21-1B3F-4788-83E0-BB66B1ED417C}"/>
                </a:ext>
              </a:extLst>
            </p:cNvPr>
            <p:cNvSpPr/>
            <p:nvPr/>
          </p:nvSpPr>
          <p:spPr>
            <a:xfrm>
              <a:off x="3218703" y="4256546"/>
              <a:ext cx="172939" cy="165991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575" name="Grupo 574">
            <a:extLst>
              <a:ext uri="{FF2B5EF4-FFF2-40B4-BE49-F238E27FC236}">
                <a16:creationId xmlns:a16="http://schemas.microsoft.com/office/drawing/2014/main" xmlns="" id="{B60138D5-6D46-4D0E-9BCF-FF7A7802AECC}"/>
              </a:ext>
            </a:extLst>
          </p:cNvPr>
          <p:cNvGrpSpPr/>
          <p:nvPr/>
        </p:nvGrpSpPr>
        <p:grpSpPr>
          <a:xfrm>
            <a:off x="8446954" y="3823491"/>
            <a:ext cx="248940" cy="229016"/>
            <a:chOff x="3146472" y="4176990"/>
            <a:chExt cx="321171" cy="308572"/>
          </a:xfrm>
        </p:grpSpPr>
        <p:sp>
          <p:nvSpPr>
            <p:cNvPr id="576" name="Lágrima 575">
              <a:extLst>
                <a:ext uri="{FF2B5EF4-FFF2-40B4-BE49-F238E27FC236}">
                  <a16:creationId xmlns:a16="http://schemas.microsoft.com/office/drawing/2014/main" xmlns="" id="{D36DDC24-7CDD-45DA-8F84-F87020D9B968}"/>
                </a:ext>
              </a:extLst>
            </p:cNvPr>
            <p:cNvSpPr/>
            <p:nvPr/>
          </p:nvSpPr>
          <p:spPr>
            <a:xfrm rot="8164978">
              <a:off x="3146472" y="4176990"/>
              <a:ext cx="321171" cy="308572"/>
            </a:xfrm>
            <a:prstGeom prst="teardrop">
              <a:avLst>
                <a:gd name="adj" fmla="val 132053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577" name="Diagrama de flujo: conector 576">
              <a:extLst>
                <a:ext uri="{FF2B5EF4-FFF2-40B4-BE49-F238E27FC236}">
                  <a16:creationId xmlns:a16="http://schemas.microsoft.com/office/drawing/2014/main" xmlns="" id="{D8E1D265-7D8E-470C-93A7-6BE58AA57BA7}"/>
                </a:ext>
              </a:extLst>
            </p:cNvPr>
            <p:cNvSpPr/>
            <p:nvPr/>
          </p:nvSpPr>
          <p:spPr>
            <a:xfrm>
              <a:off x="3218703" y="4256546"/>
              <a:ext cx="172939" cy="165991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578" name="Grupo 577">
            <a:extLst>
              <a:ext uri="{FF2B5EF4-FFF2-40B4-BE49-F238E27FC236}">
                <a16:creationId xmlns:a16="http://schemas.microsoft.com/office/drawing/2014/main" xmlns="" id="{4B459210-0D00-4AD7-85ED-9492696241D3}"/>
              </a:ext>
            </a:extLst>
          </p:cNvPr>
          <p:cNvGrpSpPr/>
          <p:nvPr/>
        </p:nvGrpSpPr>
        <p:grpSpPr>
          <a:xfrm>
            <a:off x="4899430" y="3332026"/>
            <a:ext cx="248940" cy="229016"/>
            <a:chOff x="3146472" y="4176990"/>
            <a:chExt cx="321171" cy="308572"/>
          </a:xfrm>
        </p:grpSpPr>
        <p:sp>
          <p:nvSpPr>
            <p:cNvPr id="579" name="Lágrima 578">
              <a:extLst>
                <a:ext uri="{FF2B5EF4-FFF2-40B4-BE49-F238E27FC236}">
                  <a16:creationId xmlns:a16="http://schemas.microsoft.com/office/drawing/2014/main" xmlns="" id="{E7B0AFEF-E018-42E7-8DF6-FBA5E0B9D280}"/>
                </a:ext>
              </a:extLst>
            </p:cNvPr>
            <p:cNvSpPr/>
            <p:nvPr/>
          </p:nvSpPr>
          <p:spPr>
            <a:xfrm rot="8164978">
              <a:off x="3146472" y="4176990"/>
              <a:ext cx="321171" cy="308572"/>
            </a:xfrm>
            <a:prstGeom prst="teardrop">
              <a:avLst>
                <a:gd name="adj" fmla="val 132053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580" name="Diagrama de flujo: conector 579">
              <a:extLst>
                <a:ext uri="{FF2B5EF4-FFF2-40B4-BE49-F238E27FC236}">
                  <a16:creationId xmlns:a16="http://schemas.microsoft.com/office/drawing/2014/main" xmlns="" id="{D8038006-B78D-48AE-BAEC-2D82947B478F}"/>
                </a:ext>
              </a:extLst>
            </p:cNvPr>
            <p:cNvSpPr/>
            <p:nvPr/>
          </p:nvSpPr>
          <p:spPr>
            <a:xfrm>
              <a:off x="3218703" y="4256546"/>
              <a:ext cx="172939" cy="165991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581" name="Grupo 580">
            <a:extLst>
              <a:ext uri="{FF2B5EF4-FFF2-40B4-BE49-F238E27FC236}">
                <a16:creationId xmlns:a16="http://schemas.microsoft.com/office/drawing/2014/main" xmlns="" id="{893F9ED1-0950-4942-A700-B2EACB8415BB}"/>
              </a:ext>
            </a:extLst>
          </p:cNvPr>
          <p:cNvGrpSpPr/>
          <p:nvPr/>
        </p:nvGrpSpPr>
        <p:grpSpPr>
          <a:xfrm>
            <a:off x="7897277" y="3755568"/>
            <a:ext cx="248940" cy="229016"/>
            <a:chOff x="3146472" y="4176990"/>
            <a:chExt cx="321171" cy="308572"/>
          </a:xfrm>
        </p:grpSpPr>
        <p:sp>
          <p:nvSpPr>
            <p:cNvPr id="582" name="Lágrima 581">
              <a:extLst>
                <a:ext uri="{FF2B5EF4-FFF2-40B4-BE49-F238E27FC236}">
                  <a16:creationId xmlns:a16="http://schemas.microsoft.com/office/drawing/2014/main" xmlns="" id="{DCFA87E8-91BE-4D79-808A-D1EDEBBFF615}"/>
                </a:ext>
              </a:extLst>
            </p:cNvPr>
            <p:cNvSpPr/>
            <p:nvPr/>
          </p:nvSpPr>
          <p:spPr>
            <a:xfrm rot="8164978">
              <a:off x="3146472" y="4176990"/>
              <a:ext cx="321171" cy="308572"/>
            </a:xfrm>
            <a:prstGeom prst="teardrop">
              <a:avLst>
                <a:gd name="adj" fmla="val 132053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583" name="Diagrama de flujo: conector 582">
              <a:extLst>
                <a:ext uri="{FF2B5EF4-FFF2-40B4-BE49-F238E27FC236}">
                  <a16:creationId xmlns:a16="http://schemas.microsoft.com/office/drawing/2014/main" xmlns="" id="{E135C5E4-9D3F-4B2E-A1DD-6325C2DE6F11}"/>
                </a:ext>
              </a:extLst>
            </p:cNvPr>
            <p:cNvSpPr/>
            <p:nvPr/>
          </p:nvSpPr>
          <p:spPr>
            <a:xfrm>
              <a:off x="3218703" y="4256546"/>
              <a:ext cx="172939" cy="165991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1033" name="Grupo 1032">
            <a:extLst>
              <a:ext uri="{FF2B5EF4-FFF2-40B4-BE49-F238E27FC236}">
                <a16:creationId xmlns:a16="http://schemas.microsoft.com/office/drawing/2014/main" xmlns="" id="{AD854741-630D-4A78-B283-A2498673C67A}"/>
              </a:ext>
            </a:extLst>
          </p:cNvPr>
          <p:cNvGrpSpPr/>
          <p:nvPr/>
        </p:nvGrpSpPr>
        <p:grpSpPr>
          <a:xfrm>
            <a:off x="1165302" y="2911788"/>
            <a:ext cx="2101234" cy="622488"/>
            <a:chOff x="1165302" y="2911788"/>
            <a:chExt cx="2098615" cy="639006"/>
          </a:xfrm>
        </p:grpSpPr>
        <p:cxnSp>
          <p:nvCxnSpPr>
            <p:cNvPr id="1026" name="Conector recto 1025">
              <a:extLst>
                <a:ext uri="{FF2B5EF4-FFF2-40B4-BE49-F238E27FC236}">
                  <a16:creationId xmlns:a16="http://schemas.microsoft.com/office/drawing/2014/main" xmlns="" id="{B68FD6C0-0752-4925-8A21-0627C74C8A19}"/>
                </a:ext>
              </a:extLst>
            </p:cNvPr>
            <p:cNvCxnSpPr>
              <a:cxnSpLocks/>
              <a:stCxn id="15" idx="11"/>
            </p:cNvCxnSpPr>
            <p:nvPr/>
          </p:nvCxnSpPr>
          <p:spPr>
            <a:xfrm flipH="1" flipV="1">
              <a:off x="1710817" y="2911788"/>
              <a:ext cx="1553100" cy="639006"/>
            </a:xfrm>
            <a:prstGeom prst="line">
              <a:avLst/>
            </a:prstGeom>
            <a:ln w="127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6" name="Conector recto 585">
              <a:extLst>
                <a:ext uri="{FF2B5EF4-FFF2-40B4-BE49-F238E27FC236}">
                  <a16:creationId xmlns:a16="http://schemas.microsoft.com/office/drawing/2014/main" xmlns="" id="{2E415885-9F4A-4704-8439-7A798BCE5EE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65302" y="2913400"/>
              <a:ext cx="562001" cy="9738"/>
            </a:xfrm>
            <a:prstGeom prst="line">
              <a:avLst/>
            </a:prstGeom>
            <a:ln w="127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7" name="Grupo 1036">
            <a:extLst>
              <a:ext uri="{FF2B5EF4-FFF2-40B4-BE49-F238E27FC236}">
                <a16:creationId xmlns:a16="http://schemas.microsoft.com/office/drawing/2014/main" xmlns="" id="{1FC29728-86D1-4B32-8C33-6FBC1C5061F1}"/>
              </a:ext>
            </a:extLst>
          </p:cNvPr>
          <p:cNvGrpSpPr/>
          <p:nvPr/>
        </p:nvGrpSpPr>
        <p:grpSpPr>
          <a:xfrm>
            <a:off x="2170873" y="3972820"/>
            <a:ext cx="917655" cy="297899"/>
            <a:chOff x="2170873" y="3972820"/>
            <a:chExt cx="917655" cy="297899"/>
          </a:xfrm>
        </p:grpSpPr>
        <p:cxnSp>
          <p:nvCxnSpPr>
            <p:cNvPr id="593" name="Conector recto 592">
              <a:extLst>
                <a:ext uri="{FF2B5EF4-FFF2-40B4-BE49-F238E27FC236}">
                  <a16:creationId xmlns:a16="http://schemas.microsoft.com/office/drawing/2014/main" xmlns="" id="{470A27EA-7927-4FB6-8377-CD62B86B1EC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38512" y="3972820"/>
              <a:ext cx="750016" cy="297899"/>
            </a:xfrm>
            <a:prstGeom prst="line">
              <a:avLst/>
            </a:prstGeom>
            <a:ln w="127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5" name="Conector recto 594">
              <a:extLst>
                <a:ext uri="{FF2B5EF4-FFF2-40B4-BE49-F238E27FC236}">
                  <a16:creationId xmlns:a16="http://schemas.microsoft.com/office/drawing/2014/main" xmlns="" id="{06D639DD-29CB-499F-867C-C16376DB1CF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70873" y="3981284"/>
              <a:ext cx="199759" cy="0"/>
            </a:xfrm>
            <a:prstGeom prst="line">
              <a:avLst/>
            </a:prstGeom>
            <a:ln w="127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9" name="Grupo 598">
            <a:extLst>
              <a:ext uri="{FF2B5EF4-FFF2-40B4-BE49-F238E27FC236}">
                <a16:creationId xmlns:a16="http://schemas.microsoft.com/office/drawing/2014/main" xmlns="" id="{5882686F-BC4D-4897-AE5F-1CAF52FD7017}"/>
              </a:ext>
            </a:extLst>
          </p:cNvPr>
          <p:cNvGrpSpPr/>
          <p:nvPr/>
        </p:nvGrpSpPr>
        <p:grpSpPr>
          <a:xfrm>
            <a:off x="2298923" y="4415500"/>
            <a:ext cx="949775" cy="297899"/>
            <a:chOff x="2138753" y="3972820"/>
            <a:chExt cx="949775" cy="297899"/>
          </a:xfrm>
        </p:grpSpPr>
        <p:cxnSp>
          <p:nvCxnSpPr>
            <p:cNvPr id="600" name="Conector recto 599">
              <a:extLst>
                <a:ext uri="{FF2B5EF4-FFF2-40B4-BE49-F238E27FC236}">
                  <a16:creationId xmlns:a16="http://schemas.microsoft.com/office/drawing/2014/main" xmlns="" id="{BC0B9AF6-CFBD-4F32-A91D-54DC652D0DE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38512" y="3972820"/>
              <a:ext cx="750016" cy="297899"/>
            </a:xfrm>
            <a:prstGeom prst="line">
              <a:avLst/>
            </a:prstGeom>
            <a:ln w="127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1" name="Conector recto 600">
              <a:extLst>
                <a:ext uri="{FF2B5EF4-FFF2-40B4-BE49-F238E27FC236}">
                  <a16:creationId xmlns:a16="http://schemas.microsoft.com/office/drawing/2014/main" xmlns="" id="{C19BA17A-0693-4986-91E9-E6396B9EC11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38753" y="3977592"/>
              <a:ext cx="199759" cy="0"/>
            </a:xfrm>
            <a:prstGeom prst="line">
              <a:avLst/>
            </a:prstGeom>
            <a:ln w="127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2" name="Grupo 601">
            <a:extLst>
              <a:ext uri="{FF2B5EF4-FFF2-40B4-BE49-F238E27FC236}">
                <a16:creationId xmlns:a16="http://schemas.microsoft.com/office/drawing/2014/main" xmlns="" id="{48C90206-B3C5-458D-8EB6-09F57D544783}"/>
              </a:ext>
            </a:extLst>
          </p:cNvPr>
          <p:cNvGrpSpPr/>
          <p:nvPr/>
        </p:nvGrpSpPr>
        <p:grpSpPr>
          <a:xfrm>
            <a:off x="4585831" y="3423961"/>
            <a:ext cx="431654" cy="246253"/>
            <a:chOff x="2170873" y="3972820"/>
            <a:chExt cx="917655" cy="297899"/>
          </a:xfrm>
        </p:grpSpPr>
        <p:cxnSp>
          <p:nvCxnSpPr>
            <p:cNvPr id="603" name="Conector recto 602">
              <a:extLst>
                <a:ext uri="{FF2B5EF4-FFF2-40B4-BE49-F238E27FC236}">
                  <a16:creationId xmlns:a16="http://schemas.microsoft.com/office/drawing/2014/main" xmlns="" id="{47F336A2-2462-433E-8C42-3BE44A7C94E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38512" y="3972820"/>
              <a:ext cx="750016" cy="297899"/>
            </a:xfrm>
            <a:prstGeom prst="line">
              <a:avLst/>
            </a:prstGeom>
            <a:ln w="127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4" name="Conector recto 603">
              <a:extLst>
                <a:ext uri="{FF2B5EF4-FFF2-40B4-BE49-F238E27FC236}">
                  <a16:creationId xmlns:a16="http://schemas.microsoft.com/office/drawing/2014/main" xmlns="" id="{ECC7CA9E-E126-4DFB-857C-E226E4613B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70873" y="3981284"/>
              <a:ext cx="199759" cy="0"/>
            </a:xfrm>
            <a:prstGeom prst="line">
              <a:avLst/>
            </a:prstGeom>
            <a:ln w="127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5" name="Grupo 604">
            <a:extLst>
              <a:ext uri="{FF2B5EF4-FFF2-40B4-BE49-F238E27FC236}">
                <a16:creationId xmlns:a16="http://schemas.microsoft.com/office/drawing/2014/main" xmlns="" id="{C810C658-D527-4AD2-A006-FB64AC6610D2}"/>
              </a:ext>
            </a:extLst>
          </p:cNvPr>
          <p:cNvGrpSpPr/>
          <p:nvPr/>
        </p:nvGrpSpPr>
        <p:grpSpPr>
          <a:xfrm flipH="1">
            <a:off x="8696567" y="3654317"/>
            <a:ext cx="350902" cy="297751"/>
            <a:chOff x="1734471" y="3972820"/>
            <a:chExt cx="1354057" cy="297899"/>
          </a:xfrm>
        </p:grpSpPr>
        <p:cxnSp>
          <p:nvCxnSpPr>
            <p:cNvPr id="606" name="Conector recto 605">
              <a:extLst>
                <a:ext uri="{FF2B5EF4-FFF2-40B4-BE49-F238E27FC236}">
                  <a16:creationId xmlns:a16="http://schemas.microsoft.com/office/drawing/2014/main" xmlns="" id="{74BF7418-90B0-4C2D-813D-A93D7D8806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38512" y="3972820"/>
              <a:ext cx="750016" cy="297899"/>
            </a:xfrm>
            <a:prstGeom prst="line">
              <a:avLst/>
            </a:prstGeom>
            <a:ln w="127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7" name="Conector recto 606">
              <a:extLst>
                <a:ext uri="{FF2B5EF4-FFF2-40B4-BE49-F238E27FC236}">
                  <a16:creationId xmlns:a16="http://schemas.microsoft.com/office/drawing/2014/main" xmlns="" id="{3F7942F2-2900-48EE-85D2-62EE348DEF5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734471" y="3981284"/>
              <a:ext cx="636160" cy="0"/>
            </a:xfrm>
            <a:prstGeom prst="line">
              <a:avLst/>
            </a:prstGeom>
            <a:ln w="127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2" name="Grupo 1041">
            <a:extLst>
              <a:ext uri="{FF2B5EF4-FFF2-40B4-BE49-F238E27FC236}">
                <a16:creationId xmlns:a16="http://schemas.microsoft.com/office/drawing/2014/main" xmlns="" id="{AED2B49F-2694-4AEE-A442-B2ECA40FA633}"/>
              </a:ext>
            </a:extLst>
          </p:cNvPr>
          <p:cNvGrpSpPr/>
          <p:nvPr/>
        </p:nvGrpSpPr>
        <p:grpSpPr>
          <a:xfrm>
            <a:off x="6999182" y="1999009"/>
            <a:ext cx="762922" cy="866352"/>
            <a:chOff x="7085867" y="2005886"/>
            <a:chExt cx="762922" cy="866352"/>
          </a:xfrm>
        </p:grpSpPr>
        <p:cxnSp>
          <p:nvCxnSpPr>
            <p:cNvPr id="611" name="Conector recto 610">
              <a:extLst>
                <a:ext uri="{FF2B5EF4-FFF2-40B4-BE49-F238E27FC236}">
                  <a16:creationId xmlns:a16="http://schemas.microsoft.com/office/drawing/2014/main" xmlns="" id="{4BD78839-1035-4CD8-8BB9-470F6C7A6C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85867" y="2005886"/>
              <a:ext cx="590110" cy="866352"/>
            </a:xfrm>
            <a:prstGeom prst="line">
              <a:avLst/>
            </a:prstGeom>
            <a:ln w="127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3" name="Conector recto 612">
              <a:extLst>
                <a:ext uri="{FF2B5EF4-FFF2-40B4-BE49-F238E27FC236}">
                  <a16:creationId xmlns:a16="http://schemas.microsoft.com/office/drawing/2014/main" xmlns="" id="{295ABAB4-C261-4409-A28F-3CEF92C1770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679648" y="2015766"/>
              <a:ext cx="169141" cy="1999"/>
            </a:xfrm>
            <a:prstGeom prst="line">
              <a:avLst/>
            </a:prstGeom>
            <a:ln w="127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5" name="Grupo 1044">
            <a:extLst>
              <a:ext uri="{FF2B5EF4-FFF2-40B4-BE49-F238E27FC236}">
                <a16:creationId xmlns:a16="http://schemas.microsoft.com/office/drawing/2014/main" xmlns="" id="{C9FB1E32-C10C-4C21-A0EB-C29821610768}"/>
              </a:ext>
            </a:extLst>
          </p:cNvPr>
          <p:cNvGrpSpPr/>
          <p:nvPr/>
        </p:nvGrpSpPr>
        <p:grpSpPr>
          <a:xfrm>
            <a:off x="7994899" y="3267807"/>
            <a:ext cx="875607" cy="866352"/>
            <a:chOff x="7994899" y="3267807"/>
            <a:chExt cx="875607" cy="866352"/>
          </a:xfrm>
        </p:grpSpPr>
        <p:cxnSp>
          <p:nvCxnSpPr>
            <p:cNvPr id="618" name="Conector recto 617">
              <a:extLst>
                <a:ext uri="{FF2B5EF4-FFF2-40B4-BE49-F238E27FC236}">
                  <a16:creationId xmlns:a16="http://schemas.microsoft.com/office/drawing/2014/main" xmlns="" id="{A3F7A124-E5F5-4962-8D99-6A971EC228B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994899" y="3267807"/>
              <a:ext cx="590110" cy="866352"/>
            </a:xfrm>
            <a:prstGeom prst="line">
              <a:avLst/>
            </a:prstGeom>
            <a:ln w="127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9" name="Conector recto 618">
              <a:extLst>
                <a:ext uri="{FF2B5EF4-FFF2-40B4-BE49-F238E27FC236}">
                  <a16:creationId xmlns:a16="http://schemas.microsoft.com/office/drawing/2014/main" xmlns="" id="{CD9DF96B-C5F2-4BA4-BD7C-F06AB61587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81842" y="3279887"/>
              <a:ext cx="288664" cy="3717"/>
            </a:xfrm>
            <a:prstGeom prst="line">
              <a:avLst/>
            </a:prstGeom>
            <a:ln w="127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4" name="Grupo 623">
            <a:extLst>
              <a:ext uri="{FF2B5EF4-FFF2-40B4-BE49-F238E27FC236}">
                <a16:creationId xmlns:a16="http://schemas.microsoft.com/office/drawing/2014/main" xmlns="" id="{B44F4B80-EC61-4DFF-AC84-54C9C362E28D}"/>
              </a:ext>
            </a:extLst>
          </p:cNvPr>
          <p:cNvGrpSpPr/>
          <p:nvPr/>
        </p:nvGrpSpPr>
        <p:grpSpPr>
          <a:xfrm>
            <a:off x="5892350" y="5150171"/>
            <a:ext cx="248940" cy="229016"/>
            <a:chOff x="3146472" y="4176990"/>
            <a:chExt cx="321171" cy="308572"/>
          </a:xfrm>
        </p:grpSpPr>
        <p:sp>
          <p:nvSpPr>
            <p:cNvPr id="625" name="Lágrima 624">
              <a:extLst>
                <a:ext uri="{FF2B5EF4-FFF2-40B4-BE49-F238E27FC236}">
                  <a16:creationId xmlns:a16="http://schemas.microsoft.com/office/drawing/2014/main" xmlns="" id="{06B69D53-A7E6-45B8-A08D-88ADC8ED4D46}"/>
                </a:ext>
              </a:extLst>
            </p:cNvPr>
            <p:cNvSpPr/>
            <p:nvPr/>
          </p:nvSpPr>
          <p:spPr>
            <a:xfrm rot="8164978">
              <a:off x="3146472" y="4176990"/>
              <a:ext cx="321171" cy="308572"/>
            </a:xfrm>
            <a:prstGeom prst="teardrop">
              <a:avLst>
                <a:gd name="adj" fmla="val 132053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626" name="Diagrama de flujo: conector 625">
              <a:extLst>
                <a:ext uri="{FF2B5EF4-FFF2-40B4-BE49-F238E27FC236}">
                  <a16:creationId xmlns:a16="http://schemas.microsoft.com/office/drawing/2014/main" xmlns="" id="{2C1ED3D2-721A-46D4-B0BE-2E5D3B9DAD2F}"/>
                </a:ext>
              </a:extLst>
            </p:cNvPr>
            <p:cNvSpPr/>
            <p:nvPr/>
          </p:nvSpPr>
          <p:spPr>
            <a:xfrm>
              <a:off x="3218703" y="4256546"/>
              <a:ext cx="172939" cy="165991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27" name="Grupo 626">
            <a:extLst>
              <a:ext uri="{FF2B5EF4-FFF2-40B4-BE49-F238E27FC236}">
                <a16:creationId xmlns:a16="http://schemas.microsoft.com/office/drawing/2014/main" xmlns="" id="{B8EF7A9F-9D48-4148-B7E0-0CEDDD5497CA}"/>
              </a:ext>
            </a:extLst>
          </p:cNvPr>
          <p:cNvGrpSpPr/>
          <p:nvPr/>
        </p:nvGrpSpPr>
        <p:grpSpPr>
          <a:xfrm>
            <a:off x="5477860" y="5042285"/>
            <a:ext cx="431654" cy="246253"/>
            <a:chOff x="2170873" y="3972820"/>
            <a:chExt cx="917655" cy="297899"/>
          </a:xfrm>
        </p:grpSpPr>
        <p:cxnSp>
          <p:nvCxnSpPr>
            <p:cNvPr id="628" name="Conector recto 627">
              <a:extLst>
                <a:ext uri="{FF2B5EF4-FFF2-40B4-BE49-F238E27FC236}">
                  <a16:creationId xmlns:a16="http://schemas.microsoft.com/office/drawing/2014/main" xmlns="" id="{585EE7C4-EF70-42E3-A9CB-91D45FF65F1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38512" y="3972820"/>
              <a:ext cx="750016" cy="297899"/>
            </a:xfrm>
            <a:prstGeom prst="line">
              <a:avLst/>
            </a:prstGeom>
            <a:ln w="127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9" name="Conector recto 628">
              <a:extLst>
                <a:ext uri="{FF2B5EF4-FFF2-40B4-BE49-F238E27FC236}">
                  <a16:creationId xmlns:a16="http://schemas.microsoft.com/office/drawing/2014/main" xmlns="" id="{C7204A18-475F-4254-B1A4-751876D537F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70873" y="3981284"/>
              <a:ext cx="199759" cy="0"/>
            </a:xfrm>
            <a:prstGeom prst="line">
              <a:avLst/>
            </a:prstGeom>
            <a:ln w="127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0" name="Grupo 629">
            <a:extLst>
              <a:ext uri="{FF2B5EF4-FFF2-40B4-BE49-F238E27FC236}">
                <a16:creationId xmlns:a16="http://schemas.microsoft.com/office/drawing/2014/main" xmlns="" id="{1CD75458-5501-4CDF-9545-DEBB192F85CC}"/>
              </a:ext>
            </a:extLst>
          </p:cNvPr>
          <p:cNvGrpSpPr/>
          <p:nvPr/>
        </p:nvGrpSpPr>
        <p:grpSpPr>
          <a:xfrm>
            <a:off x="6089178" y="3188268"/>
            <a:ext cx="248940" cy="229016"/>
            <a:chOff x="3146472" y="4176990"/>
            <a:chExt cx="321171" cy="308572"/>
          </a:xfrm>
        </p:grpSpPr>
        <p:sp>
          <p:nvSpPr>
            <p:cNvPr id="631" name="Lágrima 630">
              <a:extLst>
                <a:ext uri="{FF2B5EF4-FFF2-40B4-BE49-F238E27FC236}">
                  <a16:creationId xmlns:a16="http://schemas.microsoft.com/office/drawing/2014/main" xmlns="" id="{D11D2E59-259F-45D7-A849-03DA01E503F6}"/>
                </a:ext>
              </a:extLst>
            </p:cNvPr>
            <p:cNvSpPr/>
            <p:nvPr/>
          </p:nvSpPr>
          <p:spPr>
            <a:xfrm rot="8164978">
              <a:off x="3146472" y="4176990"/>
              <a:ext cx="321171" cy="308572"/>
            </a:xfrm>
            <a:prstGeom prst="teardrop">
              <a:avLst>
                <a:gd name="adj" fmla="val 132053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632" name="Diagrama de flujo: conector 631">
              <a:extLst>
                <a:ext uri="{FF2B5EF4-FFF2-40B4-BE49-F238E27FC236}">
                  <a16:creationId xmlns:a16="http://schemas.microsoft.com/office/drawing/2014/main" xmlns="" id="{4926EBAE-B541-492A-9CD6-8E13BAA15C1B}"/>
                </a:ext>
              </a:extLst>
            </p:cNvPr>
            <p:cNvSpPr/>
            <p:nvPr/>
          </p:nvSpPr>
          <p:spPr>
            <a:xfrm>
              <a:off x="3218703" y="4256546"/>
              <a:ext cx="172939" cy="165991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33" name="Grupo 632">
            <a:extLst>
              <a:ext uri="{FF2B5EF4-FFF2-40B4-BE49-F238E27FC236}">
                <a16:creationId xmlns:a16="http://schemas.microsoft.com/office/drawing/2014/main" xmlns="" id="{562E01BA-545F-4A8D-9352-57334B80EC80}"/>
              </a:ext>
            </a:extLst>
          </p:cNvPr>
          <p:cNvGrpSpPr/>
          <p:nvPr/>
        </p:nvGrpSpPr>
        <p:grpSpPr>
          <a:xfrm>
            <a:off x="5137711" y="2318875"/>
            <a:ext cx="1031536" cy="881980"/>
            <a:chOff x="2146092" y="3972820"/>
            <a:chExt cx="942436" cy="297899"/>
          </a:xfrm>
        </p:grpSpPr>
        <p:cxnSp>
          <p:nvCxnSpPr>
            <p:cNvPr id="634" name="Conector recto 633">
              <a:extLst>
                <a:ext uri="{FF2B5EF4-FFF2-40B4-BE49-F238E27FC236}">
                  <a16:creationId xmlns:a16="http://schemas.microsoft.com/office/drawing/2014/main" xmlns="" id="{223B1DCA-F747-45D1-998B-70C0426AD10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38512" y="3972820"/>
              <a:ext cx="750016" cy="297899"/>
            </a:xfrm>
            <a:prstGeom prst="line">
              <a:avLst/>
            </a:prstGeom>
            <a:ln w="127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5" name="Conector recto 634">
              <a:extLst>
                <a:ext uri="{FF2B5EF4-FFF2-40B4-BE49-F238E27FC236}">
                  <a16:creationId xmlns:a16="http://schemas.microsoft.com/office/drawing/2014/main" xmlns="" id="{CE39B7DB-8028-40F2-868D-76863FD67BA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46092" y="3977731"/>
              <a:ext cx="199759" cy="0"/>
            </a:xfrm>
            <a:prstGeom prst="line">
              <a:avLst/>
            </a:prstGeom>
            <a:ln w="127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46" name="CuadroTexto 1045">
            <a:extLst>
              <a:ext uri="{FF2B5EF4-FFF2-40B4-BE49-F238E27FC236}">
                <a16:creationId xmlns:a16="http://schemas.microsoft.com/office/drawing/2014/main" xmlns="" id="{420685BA-A72A-4FE8-810C-40DB0F225DCD}"/>
              </a:ext>
            </a:extLst>
          </p:cNvPr>
          <p:cNvSpPr txBox="1"/>
          <p:nvPr/>
        </p:nvSpPr>
        <p:spPr>
          <a:xfrm>
            <a:off x="392012" y="2690677"/>
            <a:ext cx="82515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100" b="1" dirty="0">
                <a:solidFill>
                  <a:srgbClr val="0070C0"/>
                </a:solidFill>
              </a:rPr>
              <a:t>Cuba</a:t>
            </a:r>
          </a:p>
          <a:p>
            <a:pPr algn="r"/>
            <a:r>
              <a:rPr lang="es-CL" sz="1100" b="1" dirty="0">
                <a:solidFill>
                  <a:srgbClr val="0070C0"/>
                </a:solidFill>
              </a:rPr>
              <a:t>La Habana</a:t>
            </a:r>
          </a:p>
        </p:txBody>
      </p:sp>
      <p:sp>
        <p:nvSpPr>
          <p:cNvPr id="1047" name="CuadroTexto 1046">
            <a:extLst>
              <a:ext uri="{FF2B5EF4-FFF2-40B4-BE49-F238E27FC236}">
                <a16:creationId xmlns:a16="http://schemas.microsoft.com/office/drawing/2014/main" xmlns="" id="{5F71D74F-00AB-452A-A5C7-BFB90B13D73F}"/>
              </a:ext>
            </a:extLst>
          </p:cNvPr>
          <p:cNvSpPr txBox="1"/>
          <p:nvPr/>
        </p:nvSpPr>
        <p:spPr>
          <a:xfrm>
            <a:off x="1321614" y="3751299"/>
            <a:ext cx="82515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100" b="1" dirty="0">
                <a:solidFill>
                  <a:srgbClr val="0070C0"/>
                </a:solidFill>
              </a:rPr>
              <a:t>Costa Rica</a:t>
            </a:r>
          </a:p>
          <a:p>
            <a:pPr algn="r"/>
            <a:r>
              <a:rPr lang="es-CL" sz="1100" b="1" dirty="0">
                <a:solidFill>
                  <a:srgbClr val="0070C0"/>
                </a:solidFill>
              </a:rPr>
              <a:t>San José</a:t>
            </a:r>
          </a:p>
        </p:txBody>
      </p:sp>
      <p:sp>
        <p:nvSpPr>
          <p:cNvPr id="1048" name="CuadroTexto 1047">
            <a:extLst>
              <a:ext uri="{FF2B5EF4-FFF2-40B4-BE49-F238E27FC236}">
                <a16:creationId xmlns:a16="http://schemas.microsoft.com/office/drawing/2014/main" xmlns="" id="{6B7BF24B-55B9-4395-B802-948132E31F4E}"/>
              </a:ext>
            </a:extLst>
          </p:cNvPr>
          <p:cNvSpPr txBox="1"/>
          <p:nvPr/>
        </p:nvSpPr>
        <p:spPr>
          <a:xfrm>
            <a:off x="1393788" y="4244436"/>
            <a:ext cx="82515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100" b="1" dirty="0">
                <a:solidFill>
                  <a:srgbClr val="0070C0"/>
                </a:solidFill>
              </a:rPr>
              <a:t>Ecuador</a:t>
            </a:r>
          </a:p>
          <a:p>
            <a:pPr algn="r"/>
            <a:r>
              <a:rPr lang="es-CL" sz="1100" b="1" dirty="0">
                <a:solidFill>
                  <a:srgbClr val="0070C0"/>
                </a:solidFill>
              </a:rPr>
              <a:t>Quito</a:t>
            </a:r>
          </a:p>
        </p:txBody>
      </p:sp>
      <p:sp>
        <p:nvSpPr>
          <p:cNvPr id="1049" name="CuadroTexto 1048">
            <a:extLst>
              <a:ext uri="{FF2B5EF4-FFF2-40B4-BE49-F238E27FC236}">
                <a16:creationId xmlns:a16="http://schemas.microsoft.com/office/drawing/2014/main" xmlns="" id="{373D5928-EF07-4819-8E64-24B9C55F5C10}"/>
              </a:ext>
            </a:extLst>
          </p:cNvPr>
          <p:cNvSpPr txBox="1"/>
          <p:nvPr/>
        </p:nvSpPr>
        <p:spPr>
          <a:xfrm>
            <a:off x="3799347" y="3180589"/>
            <a:ext cx="82515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100" b="1" dirty="0">
                <a:solidFill>
                  <a:srgbClr val="0070C0"/>
                </a:solidFill>
              </a:rPr>
              <a:t>Marruecos</a:t>
            </a:r>
          </a:p>
          <a:p>
            <a:pPr algn="r"/>
            <a:r>
              <a:rPr lang="es-CL" sz="1100" b="1" dirty="0">
                <a:solidFill>
                  <a:srgbClr val="0070C0"/>
                </a:solidFill>
              </a:rPr>
              <a:t>Rabat</a:t>
            </a:r>
          </a:p>
        </p:txBody>
      </p:sp>
      <p:sp>
        <p:nvSpPr>
          <p:cNvPr id="1050" name="CuadroTexto 1049">
            <a:extLst>
              <a:ext uri="{FF2B5EF4-FFF2-40B4-BE49-F238E27FC236}">
                <a16:creationId xmlns:a16="http://schemas.microsoft.com/office/drawing/2014/main" xmlns="" id="{F04FF8AE-5A21-470A-B3F6-945B169342E8}"/>
              </a:ext>
            </a:extLst>
          </p:cNvPr>
          <p:cNvSpPr txBox="1"/>
          <p:nvPr/>
        </p:nvSpPr>
        <p:spPr>
          <a:xfrm>
            <a:off x="4697355" y="4811374"/>
            <a:ext cx="82515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100" b="1" dirty="0">
                <a:solidFill>
                  <a:srgbClr val="0070C0"/>
                </a:solidFill>
              </a:rPr>
              <a:t>Lesoto</a:t>
            </a:r>
          </a:p>
          <a:p>
            <a:pPr algn="r"/>
            <a:r>
              <a:rPr lang="es-CL" sz="1100" b="1" dirty="0">
                <a:solidFill>
                  <a:srgbClr val="0070C0"/>
                </a:solidFill>
              </a:rPr>
              <a:t>Maseru</a:t>
            </a:r>
          </a:p>
        </p:txBody>
      </p:sp>
      <p:sp>
        <p:nvSpPr>
          <p:cNvPr id="1051" name="CuadroTexto 1050">
            <a:extLst>
              <a:ext uri="{FF2B5EF4-FFF2-40B4-BE49-F238E27FC236}">
                <a16:creationId xmlns:a16="http://schemas.microsoft.com/office/drawing/2014/main" xmlns="" id="{F580D89A-6835-48F5-AEDD-D69C8DD72D77}"/>
              </a:ext>
            </a:extLst>
          </p:cNvPr>
          <p:cNvSpPr txBox="1"/>
          <p:nvPr/>
        </p:nvSpPr>
        <p:spPr>
          <a:xfrm>
            <a:off x="4369241" y="2083471"/>
            <a:ext cx="82515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100" b="1" dirty="0">
                <a:solidFill>
                  <a:srgbClr val="0070C0"/>
                </a:solidFill>
              </a:rPr>
              <a:t>Jordania</a:t>
            </a:r>
          </a:p>
          <a:p>
            <a:pPr algn="r"/>
            <a:r>
              <a:rPr lang="es-CL" sz="1100" b="1" dirty="0">
                <a:solidFill>
                  <a:srgbClr val="0070C0"/>
                </a:solidFill>
              </a:rPr>
              <a:t>Amán</a:t>
            </a:r>
          </a:p>
        </p:txBody>
      </p:sp>
      <p:sp>
        <p:nvSpPr>
          <p:cNvPr id="1052" name="CuadroTexto 1051">
            <a:extLst>
              <a:ext uri="{FF2B5EF4-FFF2-40B4-BE49-F238E27FC236}">
                <a16:creationId xmlns:a16="http://schemas.microsoft.com/office/drawing/2014/main" xmlns="" id="{74F29B34-7E92-4431-85E3-13F54B92678A}"/>
              </a:ext>
            </a:extLst>
          </p:cNvPr>
          <p:cNvSpPr txBox="1"/>
          <p:nvPr/>
        </p:nvSpPr>
        <p:spPr>
          <a:xfrm>
            <a:off x="7588960" y="1795434"/>
            <a:ext cx="82515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100" b="1" dirty="0">
                <a:solidFill>
                  <a:srgbClr val="0070C0"/>
                </a:solidFill>
              </a:rPr>
              <a:t>Kazajistán</a:t>
            </a:r>
          </a:p>
          <a:p>
            <a:pPr algn="r"/>
            <a:r>
              <a:rPr lang="es-CL" sz="1100" b="1" dirty="0">
                <a:solidFill>
                  <a:srgbClr val="0070C0"/>
                </a:solidFill>
              </a:rPr>
              <a:t>Almaty</a:t>
            </a:r>
          </a:p>
        </p:txBody>
      </p:sp>
      <p:sp>
        <p:nvSpPr>
          <p:cNvPr id="1053" name="CuadroTexto 1052">
            <a:extLst>
              <a:ext uri="{FF2B5EF4-FFF2-40B4-BE49-F238E27FC236}">
                <a16:creationId xmlns:a16="http://schemas.microsoft.com/office/drawing/2014/main" xmlns="" id="{EE65A856-909B-4A5E-88CB-FE4CD5A23903}"/>
              </a:ext>
            </a:extLst>
          </p:cNvPr>
          <p:cNvSpPr txBox="1"/>
          <p:nvPr/>
        </p:nvSpPr>
        <p:spPr>
          <a:xfrm>
            <a:off x="8727185" y="3037552"/>
            <a:ext cx="99720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100" b="1" dirty="0">
                <a:solidFill>
                  <a:srgbClr val="0070C0"/>
                </a:solidFill>
              </a:rPr>
              <a:t>Camboya</a:t>
            </a:r>
          </a:p>
          <a:p>
            <a:pPr algn="r"/>
            <a:r>
              <a:rPr lang="es-CL" sz="1100" b="1" dirty="0" err="1">
                <a:solidFill>
                  <a:srgbClr val="0070C0"/>
                </a:solidFill>
              </a:rPr>
              <a:t>Battambang</a:t>
            </a:r>
            <a:endParaRPr lang="es-CL" sz="1100" b="1" dirty="0">
              <a:solidFill>
                <a:srgbClr val="0070C0"/>
              </a:solidFill>
            </a:endParaRPr>
          </a:p>
        </p:txBody>
      </p:sp>
      <p:sp>
        <p:nvSpPr>
          <p:cNvPr id="1054" name="CuadroTexto 1053">
            <a:extLst>
              <a:ext uri="{FF2B5EF4-FFF2-40B4-BE49-F238E27FC236}">
                <a16:creationId xmlns:a16="http://schemas.microsoft.com/office/drawing/2014/main" xmlns="" id="{FF0F012A-87CD-4CAA-98D2-F651A1733505}"/>
              </a:ext>
            </a:extLst>
          </p:cNvPr>
          <p:cNvSpPr txBox="1"/>
          <p:nvPr/>
        </p:nvSpPr>
        <p:spPr>
          <a:xfrm>
            <a:off x="8892219" y="3565946"/>
            <a:ext cx="8251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100" b="1" dirty="0">
                <a:solidFill>
                  <a:srgbClr val="0070C0"/>
                </a:solidFill>
              </a:rPr>
              <a:t>Filipinas</a:t>
            </a:r>
          </a:p>
        </p:txBody>
      </p:sp>
    </p:spTree>
    <p:extLst>
      <p:ext uri="{BB962C8B-B14F-4D97-AF65-F5344CB8AC3E}">
        <p14:creationId xmlns:p14="http://schemas.microsoft.com/office/powerpoint/2010/main" val="7488284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0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5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10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0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0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000"/>
                            </p:stCondLst>
                            <p:childTnLst>
                              <p:par>
                                <p:cTn id="37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500"/>
                            </p:stCondLst>
                            <p:childTnLst>
                              <p:par>
                                <p:cTn id="4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5" dur="500"/>
                                        <p:tgtEl>
                                          <p:spTgt spid="5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000"/>
                            </p:stCondLst>
                            <p:childTnLst>
                              <p:par>
                                <p:cTn id="4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0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0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0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500"/>
                            </p:stCondLst>
                            <p:childTnLst>
                              <p:par>
                                <p:cTn id="53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5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5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0"/>
                            </p:stCondLst>
                            <p:childTnLst>
                              <p:par>
                                <p:cTn id="5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1" dur="500"/>
                                        <p:tgtEl>
                                          <p:spTgt spid="6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500"/>
                            </p:stCondLst>
                            <p:childTnLst>
                              <p:par>
                                <p:cTn id="6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0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0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0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6000"/>
                            </p:stCondLst>
                            <p:childTnLst>
                              <p:par>
                                <p:cTn id="69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6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6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6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6500"/>
                            </p:stCondLst>
                            <p:childTnLst>
                              <p:par>
                                <p:cTn id="7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7" dur="500"/>
                                        <p:tgtEl>
                                          <p:spTgt spid="6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7000"/>
                            </p:stCondLst>
                            <p:childTnLst>
                              <p:par>
                                <p:cTn id="7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10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10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7500"/>
                            </p:stCondLst>
                            <p:childTnLst>
                              <p:par>
                                <p:cTn id="8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6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6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6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8000"/>
                            </p:stCondLst>
                            <p:childTnLst>
                              <p:par>
                                <p:cTn id="9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3" dur="500"/>
                                        <p:tgtEl>
                                          <p:spTgt spid="6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8500"/>
                            </p:stCondLst>
                            <p:childTnLst>
                              <p:par>
                                <p:cTn id="9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10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10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9000"/>
                            </p:stCondLst>
                            <p:childTnLst>
                              <p:par>
                                <p:cTn id="10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5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5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5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9500"/>
                            </p:stCondLst>
                            <p:childTnLst>
                              <p:par>
                                <p:cTn id="10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9" dur="500"/>
                                        <p:tgtEl>
                                          <p:spTgt spid="10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10000"/>
                            </p:stCondLst>
                            <p:childTnLst>
                              <p:par>
                                <p:cTn id="1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10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10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1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10500"/>
                            </p:stCondLst>
                            <p:childTnLst>
                              <p:par>
                                <p:cTn id="117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1000"/>
                                        <p:tgtEl>
                                          <p:spTgt spid="5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5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5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11500"/>
                            </p:stCondLst>
                            <p:childTnLst>
                              <p:par>
                                <p:cTn id="1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5" dur="500"/>
                                        <p:tgtEl>
                                          <p:spTgt spid="10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12000"/>
                            </p:stCondLst>
                            <p:childTnLst>
                              <p:par>
                                <p:cTn id="12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10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10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1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12500"/>
                            </p:stCondLst>
                            <p:childTnLst>
                              <p:par>
                                <p:cTn id="133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1000"/>
                                        <p:tgtEl>
                                          <p:spTgt spid="5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6" dur="1000" fill="hold"/>
                                        <p:tgtEl>
                                          <p:spTgt spid="5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1000" fill="hold"/>
                                        <p:tgtEl>
                                          <p:spTgt spid="5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>
                            <p:stCondLst>
                              <p:cond delay="13500"/>
                            </p:stCondLst>
                            <p:childTnLst>
                              <p:par>
                                <p:cTn id="13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1" dur="500"/>
                                        <p:tgtEl>
                                          <p:spTgt spid="6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14000"/>
                            </p:stCondLst>
                            <p:childTnLst>
                              <p:par>
                                <p:cTn id="14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5" dur="500" fill="hold"/>
                                        <p:tgtEl>
                                          <p:spTgt spid="10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500" fill="hold"/>
                                        <p:tgtEl>
                                          <p:spTgt spid="10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1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6" grpId="0"/>
      <p:bldP spid="1047" grpId="0"/>
      <p:bldP spid="1048" grpId="0"/>
      <p:bldP spid="1049" grpId="0"/>
      <p:bldP spid="1050" grpId="0"/>
      <p:bldP spid="1051" grpId="0"/>
      <p:bldP spid="1052" grpId="0"/>
      <p:bldP spid="1053" grpId="0"/>
      <p:bldP spid="105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28" name="Rectangle 70">
            <a:extLst>
              <a:ext uri="{FF2B5EF4-FFF2-40B4-BE49-F238E27FC236}">
                <a16:creationId xmlns:a16="http://schemas.microsoft.com/office/drawing/2014/main" xmlns="" id="{2D2B266D-3625-4584-A5C3-7D3F672CFF3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0155078D-9C4D-4E76-9E27-FB8CCB51056F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" y="0"/>
            <a:ext cx="495302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ED05C4E6-FCBF-4715-ADC6-AE7A92B250EB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166507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F06A9F79-3EC7-49C6-B0F8-825766CB9BB7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75400" y="-5361049"/>
            <a:ext cx="428627" cy="1115072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4DA09D1F-3A95-4D36-8AA4-563FF431B480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64688" y="1083802"/>
            <a:ext cx="431005" cy="1115072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extBox 7">
            <a:extLst>
              <a:ext uri="{FF2B5EF4-FFF2-40B4-BE49-F238E27FC236}">
                <a16:creationId xmlns:a16="http://schemas.microsoft.com/office/drawing/2014/main" xmlns="" id="{7CC849E8-FB81-4945-87CA-89A1270FC088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774359" y="644060"/>
            <a:ext cx="8494395" cy="3416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s-MX" sz="18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operación Interregional para la Implementación de la Nueva Agenda Urbana</a:t>
            </a:r>
          </a:p>
        </p:txBody>
      </p:sp>
      <p:cxnSp>
        <p:nvCxnSpPr>
          <p:cNvPr id="22" name="Straight Arrow Connector 4">
            <a:extLst>
              <a:ext uri="{FF2B5EF4-FFF2-40B4-BE49-F238E27FC236}">
                <a16:creationId xmlns:a16="http://schemas.microsoft.com/office/drawing/2014/main" xmlns="" id="{65633C54-0E4F-4139-9DCE-F5C6B1FB427D}"/>
              </a:ext>
            </a:extLst>
          </p:cNvPr>
          <p:cNvCxnSpPr>
            <a:cxnSpLocks/>
          </p:cNvCxnSpPr>
          <p:nvPr/>
        </p:nvCxnSpPr>
        <p:spPr>
          <a:xfrm>
            <a:off x="774359" y="1045736"/>
            <a:ext cx="6679989" cy="0"/>
          </a:xfrm>
          <a:prstGeom prst="straightConnector1">
            <a:avLst/>
          </a:prstGeom>
          <a:ln w="6350"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3" name="CuadroTexto 12">
            <a:extLst>
              <a:ext uri="{FF2B5EF4-FFF2-40B4-BE49-F238E27FC236}">
                <a16:creationId xmlns:a16="http://schemas.microsoft.com/office/drawing/2014/main" xmlns="" id="{AA84E490-9253-4769-AFFE-F233632DB2DA}"/>
              </a:ext>
            </a:extLst>
          </p:cNvPr>
          <p:cNvSpPr txBox="1"/>
          <p:nvPr/>
        </p:nvSpPr>
        <p:spPr>
          <a:xfrm>
            <a:off x="613928" y="1320293"/>
            <a:ext cx="10678912" cy="6071149"/>
          </a:xfrm>
          <a:prstGeom prst="rect">
            <a:avLst/>
          </a:prstGeom>
          <a:noFill/>
          <a:ln w="9525">
            <a:noFill/>
          </a:ln>
        </p:spPr>
        <p:txBody>
          <a:bodyPr wrap="square" rtlCol="0">
            <a:spAutoFit/>
          </a:bodyPr>
          <a:lstStyle/>
          <a:p>
            <a:endParaRPr lang="es-MX" sz="2000" dirty="0">
              <a:latin typeface="Calibri" panose="020F0502020204030204" pitchFamily="34" charset="0"/>
            </a:endParaRPr>
          </a:p>
          <a:p>
            <a:r>
              <a:rPr lang="es-MX" sz="20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MX" sz="2000" b="1" dirty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sultados esperados para las contrapartes nacionales y locales a cargo de CEPAL:</a:t>
            </a:r>
          </a:p>
          <a:p>
            <a:endParaRPr lang="es-MX" b="1" dirty="0">
              <a:solidFill>
                <a:srgbClr val="0070C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ortalecimiento de las capacidades de nivel nacional y de la ciudad formuladores de políticas y partes interesadas incluidas las ONG, el sector privado, academia y representantes de grupos vulnerables en destino países y ciudades para desarrollar coherente nacional / ciudad urbana planes y basados en evidencia políticas urbanas: </a:t>
            </a: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2.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lataforma urbana virtual desarrollada 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n la región de ALC (</a:t>
            </a:r>
            <a:r>
              <a:rPr lang="es-MX" sz="1400" u="sng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oro virtual, centro de aprendizaje, observatorio</a:t>
            </a: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. Esta plataforma será una base de datos dinámica, interactiva y fácil de usar y permitirá: </a:t>
            </a: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lnSpc>
                <a:spcPct val="107000"/>
              </a:lnSpc>
            </a:pPr>
            <a:endParaRPr lang="es-E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lnSpc>
                <a:spcPct val="107000"/>
              </a:lnSpc>
            </a:pPr>
            <a:endParaRPr lang="es-E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2000" b="1" dirty="0">
              <a:solidFill>
                <a:srgbClr val="0070C0"/>
              </a:solidFill>
              <a:latin typeface="Calibri" panose="020F0502020204030204" pitchFamily="34" charset="0"/>
            </a:endParaRPr>
          </a:p>
          <a:p>
            <a:endParaRPr lang="es-MX" sz="2000" b="1" dirty="0">
              <a:solidFill>
                <a:srgbClr val="0070C0"/>
              </a:solidFill>
              <a:latin typeface="Calibri" panose="020F0502020204030204" pitchFamily="34" charset="0"/>
            </a:endParaRPr>
          </a:p>
        </p:txBody>
      </p:sp>
      <p:pic>
        <p:nvPicPr>
          <p:cNvPr id="18" name="Gráfico 11" descr="Cabeza con engranajes">
            <a:extLst>
              <a:ext uri="{FF2B5EF4-FFF2-40B4-BE49-F238E27FC236}">
                <a16:creationId xmlns:a16="http://schemas.microsoft.com/office/drawing/2014/main" xmlns="" id="{B96B36C6-E178-49A0-96AA-DEEC10BE311A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92240" y="3310604"/>
            <a:ext cx="775589" cy="571373"/>
          </a:xfrm>
          <a:prstGeom prst="rect">
            <a:avLst/>
          </a:prstGeom>
        </p:spPr>
      </p:pic>
      <p:sp>
        <p:nvSpPr>
          <p:cNvPr id="4" name="Rounded Rectangle 103">
            <a:extLst>
              <a:ext uri="{FF2B5EF4-FFF2-40B4-BE49-F238E27FC236}">
                <a16:creationId xmlns:a16="http://schemas.microsoft.com/office/drawing/2014/main" xmlns="" id="{2DAB3D86-5BC5-4FF3-B4E6-81BFF6703812}"/>
              </a:ext>
            </a:extLst>
          </p:cNvPr>
          <p:cNvSpPr/>
          <p:nvPr/>
        </p:nvSpPr>
        <p:spPr>
          <a:xfrm>
            <a:off x="767446" y="3251819"/>
            <a:ext cx="3412389" cy="782989"/>
          </a:xfrm>
          <a:prstGeom prst="roundRect">
            <a:avLst/>
          </a:prstGeom>
          <a:noFill/>
          <a:ln w="12700">
            <a:solidFill>
              <a:schemeClr val="accent6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xmlns="" id="{D04FC440-45AA-40AF-BC12-D6C9105EF270}"/>
              </a:ext>
            </a:extLst>
          </p:cNvPr>
          <p:cNvSpPr txBox="1"/>
          <p:nvPr/>
        </p:nvSpPr>
        <p:spPr>
          <a:xfrm>
            <a:off x="1517813" y="3346962"/>
            <a:ext cx="2582567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>
                <a:solidFill>
                  <a:schemeClr val="accent6">
                    <a:lumMod val="7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istencia técnica </a:t>
            </a:r>
          </a:p>
          <a:p>
            <a:r>
              <a:rPr lang="es-ES" sz="1000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lanificación e implementación políticas y planes urbanos sostenible e personalizados.</a:t>
            </a:r>
            <a:endParaRPr lang="es-CL" sz="10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0" name="Rounded Rectangle 103">
            <a:extLst>
              <a:ext uri="{FF2B5EF4-FFF2-40B4-BE49-F238E27FC236}">
                <a16:creationId xmlns:a16="http://schemas.microsoft.com/office/drawing/2014/main" xmlns="" id="{1E3F5162-4C67-4C3E-AF9E-FD3B636A34EF}"/>
              </a:ext>
            </a:extLst>
          </p:cNvPr>
          <p:cNvSpPr/>
          <p:nvPr/>
        </p:nvSpPr>
        <p:spPr>
          <a:xfrm>
            <a:off x="4242241" y="3232138"/>
            <a:ext cx="3412389" cy="782989"/>
          </a:xfrm>
          <a:prstGeom prst="round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pic>
        <p:nvPicPr>
          <p:cNvPr id="24" name="Gráfico 12" descr="Plano">
            <a:extLst>
              <a:ext uri="{FF2B5EF4-FFF2-40B4-BE49-F238E27FC236}">
                <a16:creationId xmlns:a16="http://schemas.microsoft.com/office/drawing/2014/main" xmlns="" id="{61350CCD-7C14-486F-A163-038C5EF1245F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4353994" y="3292132"/>
            <a:ext cx="556895" cy="537517"/>
          </a:xfrm>
          <a:prstGeom prst="rect">
            <a:avLst/>
          </a:prstGeom>
        </p:spPr>
      </p:pic>
      <p:sp>
        <p:nvSpPr>
          <p:cNvPr id="20" name="CuadroTexto 19">
            <a:extLst>
              <a:ext uri="{FF2B5EF4-FFF2-40B4-BE49-F238E27FC236}">
                <a16:creationId xmlns:a16="http://schemas.microsoft.com/office/drawing/2014/main" xmlns="" id="{CC9068B0-FDC5-47DB-9087-30F05B80EC94}"/>
              </a:ext>
            </a:extLst>
          </p:cNvPr>
          <p:cNvSpPr txBox="1"/>
          <p:nvPr/>
        </p:nvSpPr>
        <p:spPr>
          <a:xfrm>
            <a:off x="4857613" y="3320148"/>
            <a:ext cx="27555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laborar </a:t>
            </a:r>
            <a:r>
              <a:rPr lang="es-MX" sz="1400" b="1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lan de acción nacional </a:t>
            </a:r>
            <a:r>
              <a:rPr lang="es-MX" sz="10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a </a:t>
            </a:r>
            <a:r>
              <a:rPr lang="es-MX" sz="11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rientar la implementación de políticas urbanas intersectoriales.</a:t>
            </a:r>
            <a:endParaRPr lang="es-CL" sz="1100" dirty="0">
              <a:solidFill>
                <a:srgbClr val="FF0000"/>
              </a:solidFill>
            </a:endParaRPr>
          </a:p>
        </p:txBody>
      </p:sp>
      <p:sp>
        <p:nvSpPr>
          <p:cNvPr id="25" name="Rounded Rectangle 103">
            <a:extLst>
              <a:ext uri="{FF2B5EF4-FFF2-40B4-BE49-F238E27FC236}">
                <a16:creationId xmlns:a16="http://schemas.microsoft.com/office/drawing/2014/main" xmlns="" id="{CC0EE24D-43EE-4375-A6EE-CE93EDA882DB}"/>
              </a:ext>
            </a:extLst>
          </p:cNvPr>
          <p:cNvSpPr/>
          <p:nvPr/>
        </p:nvSpPr>
        <p:spPr>
          <a:xfrm>
            <a:off x="7717035" y="3232138"/>
            <a:ext cx="3205847" cy="782989"/>
          </a:xfrm>
          <a:prstGeom prst="roundRect">
            <a:avLst/>
          </a:prstGeom>
          <a:noFill/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pic>
        <p:nvPicPr>
          <p:cNvPr id="30" name="Gráfico 13" descr="Ciudad">
            <a:extLst>
              <a:ext uri="{FF2B5EF4-FFF2-40B4-BE49-F238E27FC236}">
                <a16:creationId xmlns:a16="http://schemas.microsoft.com/office/drawing/2014/main" xmlns="" id="{94A5DBBA-3E6C-42A7-9B23-DF3BBDB8BE9C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7799275" y="3338577"/>
            <a:ext cx="452606" cy="515426"/>
          </a:xfrm>
          <a:prstGeom prst="rect">
            <a:avLst/>
          </a:prstGeom>
        </p:spPr>
      </p:pic>
      <p:sp>
        <p:nvSpPr>
          <p:cNvPr id="27" name="CuadroTexto 26">
            <a:extLst>
              <a:ext uri="{FF2B5EF4-FFF2-40B4-BE49-F238E27FC236}">
                <a16:creationId xmlns:a16="http://schemas.microsoft.com/office/drawing/2014/main" xmlns="" id="{D10CA3D3-F74F-4BB7-A695-A09A9D7F7364}"/>
              </a:ext>
            </a:extLst>
          </p:cNvPr>
          <p:cNvSpPr txBox="1"/>
          <p:nvPr/>
        </p:nvSpPr>
        <p:spPr>
          <a:xfrm>
            <a:off x="8285731" y="3306069"/>
            <a:ext cx="2612094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2"/>
                </a:solidFill>
              </a:rPr>
              <a:t>Formular, revisar en las ciudades</a:t>
            </a:r>
          </a:p>
          <a:p>
            <a:r>
              <a:rPr lang="es-CL" sz="1000" b="1" dirty="0">
                <a:solidFill>
                  <a:schemeClr val="accent2"/>
                </a:solidFill>
              </a:rPr>
              <a:t>políticas</a:t>
            </a:r>
            <a:r>
              <a:rPr lang="es-CL" sz="1000" dirty="0">
                <a:solidFill>
                  <a:schemeClr val="accent2"/>
                </a:solidFill>
              </a:rPr>
              <a:t>, estrategias, planes o planes de desarrollo urbano intersectoriales. </a:t>
            </a:r>
          </a:p>
        </p:txBody>
      </p:sp>
      <p:sp>
        <p:nvSpPr>
          <p:cNvPr id="29" name="Rounded Rectangle 103">
            <a:extLst>
              <a:ext uri="{FF2B5EF4-FFF2-40B4-BE49-F238E27FC236}">
                <a16:creationId xmlns:a16="http://schemas.microsoft.com/office/drawing/2014/main" xmlns="" id="{060677C3-0DD3-4549-B810-917B212A49CB}"/>
              </a:ext>
            </a:extLst>
          </p:cNvPr>
          <p:cNvSpPr/>
          <p:nvPr/>
        </p:nvSpPr>
        <p:spPr>
          <a:xfrm>
            <a:off x="705198" y="5057842"/>
            <a:ext cx="3412389" cy="890034"/>
          </a:xfrm>
          <a:prstGeom prst="roundRect">
            <a:avLst/>
          </a:prstGeom>
          <a:noFill/>
          <a:ln w="1270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pic>
        <p:nvPicPr>
          <p:cNvPr id="34" name="Gráfico 15" descr="Investigación">
            <a:extLst>
              <a:ext uri="{FF2B5EF4-FFF2-40B4-BE49-F238E27FC236}">
                <a16:creationId xmlns:a16="http://schemas.microsoft.com/office/drawing/2014/main" xmlns="" id="{54CA8B89-A292-4FD7-BD19-1F6416D6BBBF}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722990" y="5188942"/>
            <a:ext cx="603454" cy="603641"/>
          </a:xfrm>
          <a:prstGeom prst="rect">
            <a:avLst/>
          </a:prstGeom>
        </p:spPr>
      </p:pic>
      <p:sp>
        <p:nvSpPr>
          <p:cNvPr id="31" name="CuadroTexto 30">
            <a:extLst>
              <a:ext uri="{FF2B5EF4-FFF2-40B4-BE49-F238E27FC236}">
                <a16:creationId xmlns:a16="http://schemas.microsoft.com/office/drawing/2014/main" xmlns="" id="{9C0CA9F0-512B-4B5B-82AC-9A30C1BE94A7}"/>
              </a:ext>
            </a:extLst>
          </p:cNvPr>
          <p:cNvSpPr txBox="1"/>
          <p:nvPr/>
        </p:nvSpPr>
        <p:spPr>
          <a:xfrm>
            <a:off x="1344236" y="5127501"/>
            <a:ext cx="275978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acilitar la recopilación </a:t>
            </a:r>
            <a:r>
              <a:rPr lang="es-MX" sz="100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e instrumentos, prácticas e iniciativas implementadas en línea con la NUA y el PAR y a nivel </a:t>
            </a: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acional</a:t>
            </a:r>
            <a:r>
              <a:rPr lang="es-MX" sz="100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y de </a:t>
            </a:r>
            <a:r>
              <a:rPr lang="es-MX" sz="1000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iudad</a:t>
            </a:r>
            <a:endParaRPr lang="es-CL" sz="10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048" name="Rounded Rectangle 103">
            <a:extLst>
              <a:ext uri="{FF2B5EF4-FFF2-40B4-BE49-F238E27FC236}">
                <a16:creationId xmlns:a16="http://schemas.microsoft.com/office/drawing/2014/main" xmlns="" id="{45AEF06F-70D7-44A2-A738-B2DE31E6FB66}"/>
              </a:ext>
            </a:extLst>
          </p:cNvPr>
          <p:cNvSpPr/>
          <p:nvPr/>
        </p:nvSpPr>
        <p:spPr>
          <a:xfrm>
            <a:off x="4236211" y="5093279"/>
            <a:ext cx="3412389" cy="890034"/>
          </a:xfrm>
          <a:prstGeom prst="roundRect">
            <a:avLst/>
          </a:prstGeom>
          <a:noFill/>
          <a:ln w="127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2049" name="CuadroTexto 2048">
            <a:extLst>
              <a:ext uri="{FF2B5EF4-FFF2-40B4-BE49-F238E27FC236}">
                <a16:creationId xmlns:a16="http://schemas.microsoft.com/office/drawing/2014/main" xmlns="" id="{7A6E8883-6392-485D-8CA8-F955DB72BA6C}"/>
              </a:ext>
            </a:extLst>
          </p:cNvPr>
          <p:cNvSpPr txBox="1"/>
          <p:nvPr/>
        </p:nvSpPr>
        <p:spPr>
          <a:xfrm>
            <a:off x="5006993" y="5076611"/>
            <a:ext cx="27575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 dirty="0">
                <a:solidFill>
                  <a:schemeClr val="accent4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omover el diálogo e</a:t>
            </a:r>
          </a:p>
          <a:p>
            <a:r>
              <a:rPr lang="es-MX" sz="1400" b="1" dirty="0">
                <a:solidFill>
                  <a:schemeClr val="accent4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tercambio </a:t>
            </a:r>
            <a:r>
              <a:rPr lang="es-MX" sz="1000" dirty="0">
                <a:solidFill>
                  <a:schemeClr val="accent4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e experiencias y aprendizajes entre los países y  partes interesadas para la implementación de la NUA y el PAR en ALC</a:t>
            </a:r>
            <a:endParaRPr lang="es-CL" sz="1000" dirty="0">
              <a:solidFill>
                <a:schemeClr val="accent4"/>
              </a:solidFill>
            </a:endParaRPr>
          </a:p>
        </p:txBody>
      </p:sp>
      <p:sp>
        <p:nvSpPr>
          <p:cNvPr id="2051" name="Rounded Rectangle 103">
            <a:extLst>
              <a:ext uri="{FF2B5EF4-FFF2-40B4-BE49-F238E27FC236}">
                <a16:creationId xmlns:a16="http://schemas.microsoft.com/office/drawing/2014/main" xmlns="" id="{2B7E82EA-A877-4A85-A182-13C7B7CF05A9}"/>
              </a:ext>
            </a:extLst>
          </p:cNvPr>
          <p:cNvSpPr/>
          <p:nvPr/>
        </p:nvSpPr>
        <p:spPr>
          <a:xfrm>
            <a:off x="7764525" y="5057842"/>
            <a:ext cx="3412389" cy="890034"/>
          </a:xfrm>
          <a:prstGeom prst="roundRect">
            <a:avLst/>
          </a:prstGeom>
          <a:noFill/>
          <a:ln w="12700">
            <a:solidFill>
              <a:srgbClr val="7030A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2052" name="CuadroTexto 2051">
            <a:extLst>
              <a:ext uri="{FF2B5EF4-FFF2-40B4-BE49-F238E27FC236}">
                <a16:creationId xmlns:a16="http://schemas.microsoft.com/office/drawing/2014/main" xmlns="" id="{74851FC8-52E7-4D28-BB38-E983B6523A62}"/>
              </a:ext>
            </a:extLst>
          </p:cNvPr>
          <p:cNvSpPr txBox="1"/>
          <p:nvPr/>
        </p:nvSpPr>
        <p:spPr>
          <a:xfrm>
            <a:off x="8935071" y="5366027"/>
            <a:ext cx="22418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rgbClr val="7030A0"/>
                </a:solidFill>
              </a:rPr>
              <a:t>Análisis de Datos</a:t>
            </a:r>
          </a:p>
        </p:txBody>
      </p:sp>
      <p:pic>
        <p:nvPicPr>
          <p:cNvPr id="43" name="Gráfico 16" descr="Chateo">
            <a:extLst>
              <a:ext uri="{FF2B5EF4-FFF2-40B4-BE49-F238E27FC236}">
                <a16:creationId xmlns:a16="http://schemas.microsoft.com/office/drawing/2014/main" xmlns="" id="{6BB2B59F-D315-4BC3-BFBD-5E0825909637}"/>
              </a:ext>
            </a:extLst>
          </p:cNvPr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4268649" y="5132356"/>
            <a:ext cx="741296" cy="741006"/>
          </a:xfrm>
          <a:prstGeom prst="rect">
            <a:avLst/>
          </a:prstGeom>
        </p:spPr>
      </p:pic>
      <p:pic>
        <p:nvPicPr>
          <p:cNvPr id="44" name="Gráfico 18" descr="Gráfico de barras">
            <a:extLst>
              <a:ext uri="{FF2B5EF4-FFF2-40B4-BE49-F238E27FC236}">
                <a16:creationId xmlns:a16="http://schemas.microsoft.com/office/drawing/2014/main" xmlns="" id="{5A3BB9C8-56A2-4D60-8AB7-36B647FB417D}"/>
              </a:ext>
            </a:extLst>
          </p:cNvPr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7873625" y="5062715"/>
            <a:ext cx="914400" cy="914400"/>
          </a:xfrm>
          <a:prstGeom prst="rect">
            <a:avLst/>
          </a:prstGeom>
        </p:spPr>
      </p:pic>
      <p:pic>
        <p:nvPicPr>
          <p:cNvPr id="2053" name="Picture 6">
            <a:extLst>
              <a:ext uri="{FF2B5EF4-FFF2-40B4-BE49-F238E27FC236}">
                <a16:creationId xmlns:a16="http://schemas.microsoft.com/office/drawing/2014/main" xmlns="" id="{91295C7C-1E9F-4CEC-AB5F-7B03E1EF3325}"/>
              </a:ext>
            </a:extLst>
          </p:cNvPr>
          <p:cNvPicPr/>
          <p:nvPr/>
        </p:nvPicPr>
        <p:blipFill>
          <a:blip r:embed="rId15"/>
          <a:stretch>
            <a:fillRect/>
          </a:stretch>
        </p:blipFill>
        <p:spPr>
          <a:xfrm>
            <a:off x="10653360" y="443436"/>
            <a:ext cx="1002194" cy="113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913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28" name="Rectangle 70">
            <a:extLst>
              <a:ext uri="{FF2B5EF4-FFF2-40B4-BE49-F238E27FC236}">
                <a16:creationId xmlns:a16="http://schemas.microsoft.com/office/drawing/2014/main" xmlns="" id="{2D2B266D-3625-4584-A5C3-7D3F672CFF3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0155078D-9C4D-4E76-9E27-FB8CCB51056F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" y="0"/>
            <a:ext cx="495302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ED05C4E6-FCBF-4715-ADC6-AE7A92B250EB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166507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F06A9F79-3EC7-49C6-B0F8-825766CB9BB7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75400" y="-5361049"/>
            <a:ext cx="428627" cy="1115072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4DA09D1F-3A95-4D36-8AA4-563FF431B480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64688" y="1083802"/>
            <a:ext cx="431005" cy="1115072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extBox 7">
            <a:extLst>
              <a:ext uri="{FF2B5EF4-FFF2-40B4-BE49-F238E27FC236}">
                <a16:creationId xmlns:a16="http://schemas.microsoft.com/office/drawing/2014/main" xmlns="" id="{7CC849E8-FB81-4945-87CA-89A1270FC088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774359" y="644060"/>
            <a:ext cx="8494395" cy="3416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s-MX" sz="18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operación Interregional para la Implementación de la Nueva Agenda Urbana</a:t>
            </a:r>
          </a:p>
        </p:txBody>
      </p:sp>
      <p:cxnSp>
        <p:nvCxnSpPr>
          <p:cNvPr id="22" name="Straight Arrow Connector 4">
            <a:extLst>
              <a:ext uri="{FF2B5EF4-FFF2-40B4-BE49-F238E27FC236}">
                <a16:creationId xmlns:a16="http://schemas.microsoft.com/office/drawing/2014/main" xmlns="" id="{65633C54-0E4F-4139-9DCE-F5C6B1FB427D}"/>
              </a:ext>
            </a:extLst>
          </p:cNvPr>
          <p:cNvCxnSpPr>
            <a:cxnSpLocks/>
          </p:cNvCxnSpPr>
          <p:nvPr/>
        </p:nvCxnSpPr>
        <p:spPr>
          <a:xfrm>
            <a:off x="774359" y="1045736"/>
            <a:ext cx="6679989" cy="0"/>
          </a:xfrm>
          <a:prstGeom prst="straightConnector1">
            <a:avLst/>
          </a:prstGeom>
          <a:ln w="6350"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3" name="CuadroTexto 12">
            <a:extLst>
              <a:ext uri="{FF2B5EF4-FFF2-40B4-BE49-F238E27FC236}">
                <a16:creationId xmlns:a16="http://schemas.microsoft.com/office/drawing/2014/main" xmlns="" id="{AA84E490-9253-4769-AFFE-F233632DB2DA}"/>
              </a:ext>
            </a:extLst>
          </p:cNvPr>
          <p:cNvSpPr txBox="1"/>
          <p:nvPr/>
        </p:nvSpPr>
        <p:spPr>
          <a:xfrm>
            <a:off x="613928" y="1320293"/>
            <a:ext cx="10678912" cy="5990230"/>
          </a:xfrm>
          <a:prstGeom prst="rect">
            <a:avLst/>
          </a:prstGeom>
          <a:noFill/>
          <a:ln w="9525">
            <a:noFill/>
          </a:ln>
        </p:spPr>
        <p:txBody>
          <a:bodyPr wrap="square" rtlCol="0">
            <a:spAutoFit/>
          </a:bodyPr>
          <a:lstStyle/>
          <a:p>
            <a:endParaRPr lang="es-MX" sz="2000" dirty="0">
              <a:latin typeface="Calibri" panose="020F0502020204030204" pitchFamily="34" charset="0"/>
            </a:endParaRPr>
          </a:p>
          <a:p>
            <a:r>
              <a:rPr lang="es-MX" sz="20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MX" sz="2000" b="1" dirty="0" smtClean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 Ecuador, en el marco de la línea de fortalecimiento de capacidades: </a:t>
            </a:r>
            <a:endParaRPr lang="es-MX" sz="2000" b="1" dirty="0">
              <a:solidFill>
                <a:schemeClr val="accent5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s-MX" b="1" dirty="0">
              <a:solidFill>
                <a:srgbClr val="0070C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ortalecimiento de las capacidades de nivel nacional y de la ciudad formuladores de políticas y partes </a:t>
            </a:r>
            <a:r>
              <a:rPr lang="es-MX" sz="1400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teresadas</a:t>
            </a:r>
          </a:p>
          <a:p>
            <a:pPr marL="342900" indent="-342900">
              <a:buAutoNum type="arabicPeriod"/>
            </a:pPr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 smtClean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es-MX" sz="1400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ivel nacional y local: </a:t>
            </a:r>
          </a:p>
          <a:p>
            <a:pPr marL="342900" indent="-342900">
              <a:buAutoNum type="arabicPeriod"/>
            </a:pPr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es-MX" sz="1400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plicación de metodología para identificación de brechas en la política publica urbana </a:t>
            </a:r>
          </a:p>
          <a:p>
            <a:pPr marL="285750" indent="-285750">
              <a:buFontTx/>
              <a:buChar char="-"/>
            </a:pPr>
            <a:r>
              <a:rPr lang="es-MX" sz="1400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daptación de metodología para implementar políticas urbanas integradas </a:t>
            </a:r>
          </a:p>
          <a:p>
            <a:pPr marL="285750" indent="-285750">
              <a:buFontTx/>
              <a:buChar char="-"/>
            </a:pPr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 smtClean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es-MX" sz="1400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ivel local: </a:t>
            </a: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es-MX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alleres de intercambio de experiencias sobre </a:t>
            </a:r>
            <a:r>
              <a:rPr lang="es-MX" sz="1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LANIFICACIÓN URBANA Y HERRAMIENTAS DE GESTIÓN DE SUELO  </a:t>
            </a: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lnSpc>
                <a:spcPct val="107000"/>
              </a:lnSpc>
            </a:pPr>
            <a:endParaRPr lang="es-E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2000" b="1" dirty="0">
              <a:solidFill>
                <a:srgbClr val="0070C0"/>
              </a:solidFill>
              <a:latin typeface="Calibri" panose="020F0502020204030204" pitchFamily="34" charset="0"/>
            </a:endParaRPr>
          </a:p>
          <a:p>
            <a:endParaRPr lang="es-MX" sz="2000" b="1" dirty="0">
              <a:solidFill>
                <a:srgbClr val="0070C0"/>
              </a:solidFill>
              <a:latin typeface="Calibri" panose="020F0502020204030204" pitchFamily="34" charset="0"/>
            </a:endParaRPr>
          </a:p>
        </p:txBody>
      </p:sp>
      <p:pic>
        <p:nvPicPr>
          <p:cNvPr id="2053" name="Picture 6">
            <a:extLst>
              <a:ext uri="{FF2B5EF4-FFF2-40B4-BE49-F238E27FC236}">
                <a16:creationId xmlns:a16="http://schemas.microsoft.com/office/drawing/2014/main" xmlns="" id="{91295C7C-1E9F-4CEC-AB5F-7B03E1EF332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0653360" y="443436"/>
            <a:ext cx="1002194" cy="113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746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0155078D-9C4D-4E76-9E27-FB8CCB51056F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" y="0"/>
            <a:ext cx="495302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ED05C4E6-FCBF-4715-ADC6-AE7A92B250EB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166507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F06A9F79-3EC7-49C6-B0F8-825766CB9BB7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75400" y="-5361049"/>
            <a:ext cx="428627" cy="1115072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4DA09D1F-3A95-4D36-8AA4-563FF431B480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64688" y="1083802"/>
            <a:ext cx="431005" cy="1115072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22" name="Straight Arrow Connector 4">
            <a:extLst>
              <a:ext uri="{FF2B5EF4-FFF2-40B4-BE49-F238E27FC236}">
                <a16:creationId xmlns:a16="http://schemas.microsoft.com/office/drawing/2014/main" xmlns="" id="{65633C54-0E4F-4139-9DCE-F5C6B1FB427D}"/>
              </a:ext>
            </a:extLst>
          </p:cNvPr>
          <p:cNvCxnSpPr>
            <a:cxnSpLocks/>
          </p:cNvCxnSpPr>
          <p:nvPr/>
        </p:nvCxnSpPr>
        <p:spPr>
          <a:xfrm>
            <a:off x="875356" y="1045736"/>
            <a:ext cx="9395480" cy="0"/>
          </a:xfrm>
          <a:prstGeom prst="straightConnector1">
            <a:avLst/>
          </a:prstGeom>
          <a:ln w="6350"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3" name="CuadroTexto 12">
            <a:extLst>
              <a:ext uri="{FF2B5EF4-FFF2-40B4-BE49-F238E27FC236}">
                <a16:creationId xmlns:a16="http://schemas.microsoft.com/office/drawing/2014/main" xmlns="" id="{AA84E490-9253-4769-AFFE-F233632DB2DA}"/>
              </a:ext>
            </a:extLst>
          </p:cNvPr>
          <p:cNvSpPr txBox="1"/>
          <p:nvPr/>
        </p:nvSpPr>
        <p:spPr>
          <a:xfrm>
            <a:off x="613928" y="1572688"/>
            <a:ext cx="11041626" cy="3712683"/>
          </a:xfrm>
          <a:prstGeom prst="rect">
            <a:avLst/>
          </a:prstGeom>
          <a:noFill/>
          <a:ln w="9525">
            <a:noFill/>
          </a:ln>
        </p:spPr>
        <p:txBody>
          <a:bodyPr wrap="square" rtlCol="0">
            <a:spAutoFit/>
          </a:bodyPr>
          <a:lstStyle/>
          <a:p>
            <a:endParaRPr lang="es-MX" sz="2000" dirty="0">
              <a:latin typeface="Calibri" panose="020F0502020204030204" pitchFamily="34" charset="0"/>
            </a:endParaRPr>
          </a:p>
          <a:p>
            <a:r>
              <a:rPr lang="es-MX" sz="2000" b="1" dirty="0" smtClean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 pone en conocimiento y consideración en Comisión de Suelo del Concejo Metropolitano de Quito</a:t>
            </a:r>
          </a:p>
          <a:p>
            <a:r>
              <a:rPr lang="es-MX" sz="2000" b="1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s siguientes talleres y fechas: </a:t>
            </a:r>
            <a:endParaRPr lang="es-MX" sz="2000" b="1" dirty="0">
              <a:solidFill>
                <a:schemeClr val="accent5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s-MX" b="1" dirty="0">
              <a:solidFill>
                <a:srgbClr val="0070C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 smtClean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lnSpc>
                <a:spcPct val="107000"/>
              </a:lnSpc>
            </a:pPr>
            <a:endParaRPr lang="es-E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2000" b="1" dirty="0">
              <a:solidFill>
                <a:srgbClr val="0070C0"/>
              </a:solidFill>
              <a:latin typeface="Calibri" panose="020F0502020204030204" pitchFamily="34" charset="0"/>
            </a:endParaRPr>
          </a:p>
          <a:p>
            <a:endParaRPr lang="es-MX" sz="2000" b="1" dirty="0">
              <a:solidFill>
                <a:srgbClr val="0070C0"/>
              </a:solidFill>
              <a:latin typeface="Calibri" panose="020F0502020204030204" pitchFamily="34" charset="0"/>
            </a:endParaRPr>
          </a:p>
        </p:txBody>
      </p:sp>
      <p:sp>
        <p:nvSpPr>
          <p:cNvPr id="25" name="Rounded Rectangle 103">
            <a:extLst>
              <a:ext uri="{FF2B5EF4-FFF2-40B4-BE49-F238E27FC236}">
                <a16:creationId xmlns:a16="http://schemas.microsoft.com/office/drawing/2014/main" xmlns="" id="{CC0EE24D-43EE-4375-A6EE-CE93EDA882DB}"/>
              </a:ext>
            </a:extLst>
          </p:cNvPr>
          <p:cNvSpPr/>
          <p:nvPr/>
        </p:nvSpPr>
        <p:spPr>
          <a:xfrm>
            <a:off x="5379992" y="2937846"/>
            <a:ext cx="4148712" cy="890034"/>
          </a:xfrm>
          <a:prstGeom prst="roundRect">
            <a:avLst/>
          </a:prstGeom>
          <a:noFill/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pic>
        <p:nvPicPr>
          <p:cNvPr id="30" name="Gráfico 13" descr="Ciudad">
            <a:extLst>
              <a:ext uri="{FF2B5EF4-FFF2-40B4-BE49-F238E27FC236}">
                <a16:creationId xmlns:a16="http://schemas.microsoft.com/office/drawing/2014/main" xmlns="" id="{94A5DBBA-3E6C-42A7-9B23-DF3BBDB8BE9C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694792" y="3092738"/>
            <a:ext cx="452606" cy="515426"/>
          </a:xfrm>
          <a:prstGeom prst="rect">
            <a:avLst/>
          </a:prstGeom>
        </p:spPr>
      </p:pic>
      <p:sp>
        <p:nvSpPr>
          <p:cNvPr id="27" name="CuadroTexto 26">
            <a:extLst>
              <a:ext uri="{FF2B5EF4-FFF2-40B4-BE49-F238E27FC236}">
                <a16:creationId xmlns:a16="http://schemas.microsoft.com/office/drawing/2014/main" xmlns="" id="{D10CA3D3-F74F-4BB7-A695-A09A9D7F7364}"/>
              </a:ext>
            </a:extLst>
          </p:cNvPr>
          <p:cNvSpPr txBox="1"/>
          <p:nvPr/>
        </p:nvSpPr>
        <p:spPr>
          <a:xfrm>
            <a:off x="6496060" y="3190167"/>
            <a:ext cx="26120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solidFill>
                  <a:schemeClr val="accent2"/>
                </a:solidFill>
              </a:rPr>
              <a:t>Taller con Técnicos municipales </a:t>
            </a:r>
            <a:endParaRPr lang="es-CL" sz="1400" b="1" dirty="0">
              <a:solidFill>
                <a:schemeClr val="accent2"/>
              </a:solidFill>
            </a:endParaRPr>
          </a:p>
        </p:txBody>
      </p:sp>
      <p:sp>
        <p:nvSpPr>
          <p:cNvPr id="2048" name="Rounded Rectangle 103">
            <a:extLst>
              <a:ext uri="{FF2B5EF4-FFF2-40B4-BE49-F238E27FC236}">
                <a16:creationId xmlns:a16="http://schemas.microsoft.com/office/drawing/2014/main" xmlns="" id="{45AEF06F-70D7-44A2-A738-B2DE31E6FB66}"/>
              </a:ext>
            </a:extLst>
          </p:cNvPr>
          <p:cNvSpPr/>
          <p:nvPr/>
        </p:nvSpPr>
        <p:spPr>
          <a:xfrm>
            <a:off x="1383665" y="2937846"/>
            <a:ext cx="3754712" cy="890034"/>
          </a:xfrm>
          <a:prstGeom prst="roundRect">
            <a:avLst/>
          </a:prstGeom>
          <a:noFill/>
          <a:ln w="127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2049" name="CuadroTexto 2048">
            <a:extLst>
              <a:ext uri="{FF2B5EF4-FFF2-40B4-BE49-F238E27FC236}">
                <a16:creationId xmlns:a16="http://schemas.microsoft.com/office/drawing/2014/main" xmlns="" id="{7A6E8883-6392-485D-8CA8-F955DB72BA6C}"/>
              </a:ext>
            </a:extLst>
          </p:cNvPr>
          <p:cNvSpPr txBox="1"/>
          <p:nvPr/>
        </p:nvSpPr>
        <p:spPr>
          <a:xfrm>
            <a:off x="2151377" y="3082446"/>
            <a:ext cx="29839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 dirty="0" smtClean="0">
                <a:solidFill>
                  <a:schemeClr val="accent4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aller con Concejales y asesores </a:t>
            </a:r>
          </a:p>
          <a:p>
            <a:r>
              <a:rPr lang="es-MX" sz="1400" b="1" dirty="0" smtClean="0">
                <a:solidFill>
                  <a:schemeClr val="accent4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el Concejo Metropolitano de Quito</a:t>
            </a:r>
            <a:endParaRPr lang="es-CL" sz="1000" dirty="0">
              <a:solidFill>
                <a:schemeClr val="accent4"/>
              </a:solidFill>
            </a:endParaRPr>
          </a:p>
        </p:txBody>
      </p:sp>
      <p:pic>
        <p:nvPicPr>
          <p:cNvPr id="43" name="Gráfico 16" descr="Chateo">
            <a:extLst>
              <a:ext uri="{FF2B5EF4-FFF2-40B4-BE49-F238E27FC236}">
                <a16:creationId xmlns:a16="http://schemas.microsoft.com/office/drawing/2014/main" xmlns="" id="{6BB2B59F-D315-4BC3-BFBD-5E0825909637}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1416103" y="2976923"/>
            <a:ext cx="741296" cy="741006"/>
          </a:xfrm>
          <a:prstGeom prst="rect">
            <a:avLst/>
          </a:prstGeom>
        </p:spPr>
      </p:pic>
      <p:pic>
        <p:nvPicPr>
          <p:cNvPr id="2053" name="Picture 6">
            <a:extLst>
              <a:ext uri="{FF2B5EF4-FFF2-40B4-BE49-F238E27FC236}">
                <a16:creationId xmlns:a16="http://schemas.microsoft.com/office/drawing/2014/main" xmlns="" id="{91295C7C-1E9F-4CEC-AB5F-7B03E1EF3325}"/>
              </a:ext>
            </a:extLst>
          </p:cNvPr>
          <p:cNvPicPr/>
          <p:nvPr/>
        </p:nvPicPr>
        <p:blipFill>
          <a:blip r:embed="rId13"/>
          <a:stretch>
            <a:fillRect/>
          </a:stretch>
        </p:blipFill>
        <p:spPr>
          <a:xfrm>
            <a:off x="10653360" y="443436"/>
            <a:ext cx="1002194" cy="1135648"/>
          </a:xfrm>
          <a:prstGeom prst="rect">
            <a:avLst/>
          </a:prstGeom>
        </p:spPr>
      </p:pic>
      <p:sp>
        <p:nvSpPr>
          <p:cNvPr id="32" name="Rounded Rectangle 103">
            <a:extLst>
              <a:ext uri="{FF2B5EF4-FFF2-40B4-BE49-F238E27FC236}">
                <a16:creationId xmlns:a16="http://schemas.microsoft.com/office/drawing/2014/main" xmlns="" id="{45AEF06F-70D7-44A2-A738-B2DE31E6FB66}"/>
              </a:ext>
            </a:extLst>
          </p:cNvPr>
          <p:cNvSpPr/>
          <p:nvPr/>
        </p:nvSpPr>
        <p:spPr>
          <a:xfrm>
            <a:off x="1380595" y="3960228"/>
            <a:ext cx="3754712" cy="890034"/>
          </a:xfrm>
          <a:prstGeom prst="roundRect">
            <a:avLst/>
          </a:prstGeom>
          <a:noFill/>
          <a:ln w="127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35" name="CuadroTexto 2048">
            <a:extLst>
              <a:ext uri="{FF2B5EF4-FFF2-40B4-BE49-F238E27FC236}">
                <a16:creationId xmlns:a16="http://schemas.microsoft.com/office/drawing/2014/main" xmlns="" id="{7A6E8883-6392-485D-8CA8-F955DB72BA6C}"/>
              </a:ext>
            </a:extLst>
          </p:cNvPr>
          <p:cNvSpPr txBox="1"/>
          <p:nvPr/>
        </p:nvSpPr>
        <p:spPr>
          <a:xfrm>
            <a:off x="1921456" y="4143635"/>
            <a:ext cx="29839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 dirty="0" smtClean="0">
                <a:solidFill>
                  <a:schemeClr val="accent4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echa propuesta: </a:t>
            </a:r>
          </a:p>
          <a:p>
            <a:r>
              <a:rPr lang="es-MX" sz="1400" b="1" dirty="0" smtClean="0">
                <a:solidFill>
                  <a:schemeClr val="accent4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Jueves, 24 de Junio, 9h00 a 12h00</a:t>
            </a:r>
          </a:p>
        </p:txBody>
      </p:sp>
      <p:sp>
        <p:nvSpPr>
          <p:cNvPr id="36" name="Rounded Rectangle 103">
            <a:extLst>
              <a:ext uri="{FF2B5EF4-FFF2-40B4-BE49-F238E27FC236}">
                <a16:creationId xmlns:a16="http://schemas.microsoft.com/office/drawing/2014/main" xmlns="" id="{CC0EE24D-43EE-4375-A6EE-CE93EDA882DB}"/>
              </a:ext>
            </a:extLst>
          </p:cNvPr>
          <p:cNvSpPr/>
          <p:nvPr/>
        </p:nvSpPr>
        <p:spPr>
          <a:xfrm>
            <a:off x="5379992" y="3944219"/>
            <a:ext cx="4148712" cy="890034"/>
          </a:xfrm>
          <a:prstGeom prst="roundRect">
            <a:avLst/>
          </a:prstGeom>
          <a:noFill/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37" name="CuadroTexto 26">
            <a:extLst>
              <a:ext uri="{FF2B5EF4-FFF2-40B4-BE49-F238E27FC236}">
                <a16:creationId xmlns:a16="http://schemas.microsoft.com/office/drawing/2014/main" xmlns="" id="{D10CA3D3-F74F-4BB7-A695-A09A9D7F7364}"/>
              </a:ext>
            </a:extLst>
          </p:cNvPr>
          <p:cNvSpPr txBox="1"/>
          <p:nvPr/>
        </p:nvSpPr>
        <p:spPr>
          <a:xfrm>
            <a:off x="6147398" y="4098988"/>
            <a:ext cx="28802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solidFill>
                  <a:schemeClr val="accent2"/>
                </a:solidFill>
              </a:rPr>
              <a:t>Fecha propuesta:</a:t>
            </a:r>
          </a:p>
          <a:p>
            <a:r>
              <a:rPr lang="es-CL" sz="1400" b="1" dirty="0" smtClean="0">
                <a:solidFill>
                  <a:schemeClr val="accent2"/>
                </a:solidFill>
              </a:rPr>
              <a:t>Jueves, 1ro de Julio 9h00 a 17h00</a:t>
            </a:r>
            <a:endParaRPr lang="es-CL" sz="1400" b="1" dirty="0">
              <a:solidFill>
                <a:schemeClr val="accent2"/>
              </a:solidFill>
            </a:endParaRPr>
          </a:p>
        </p:txBody>
      </p:sp>
      <p:pic>
        <p:nvPicPr>
          <p:cNvPr id="38" name="Gráfico 11" descr="Cabeza con engranajes">
            <a:extLst>
              <a:ext uri="{FF2B5EF4-FFF2-40B4-BE49-F238E27FC236}">
                <a16:creationId xmlns:a16="http://schemas.microsoft.com/office/drawing/2014/main" xmlns="" id="{B96B36C6-E178-49A0-96AA-DEEC10BE311A}"/>
              </a:ext>
            </a:extLst>
          </p:cNvPr>
          <p:cNvPicPr/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350832" y="5258219"/>
            <a:ext cx="775589" cy="571373"/>
          </a:xfrm>
          <a:prstGeom prst="rect">
            <a:avLst/>
          </a:prstGeom>
        </p:spPr>
      </p:pic>
      <p:sp>
        <p:nvSpPr>
          <p:cNvPr id="39" name="Rounded Rectangle 103">
            <a:extLst>
              <a:ext uri="{FF2B5EF4-FFF2-40B4-BE49-F238E27FC236}">
                <a16:creationId xmlns:a16="http://schemas.microsoft.com/office/drawing/2014/main" xmlns="" id="{2DAB3D86-5BC5-4FF3-B4E6-81BFF6703812}"/>
              </a:ext>
            </a:extLst>
          </p:cNvPr>
          <p:cNvSpPr/>
          <p:nvPr/>
        </p:nvSpPr>
        <p:spPr>
          <a:xfrm>
            <a:off x="3326038" y="5199434"/>
            <a:ext cx="4229307" cy="782989"/>
          </a:xfrm>
          <a:prstGeom prst="roundRect">
            <a:avLst/>
          </a:prstGeom>
          <a:noFill/>
          <a:ln w="12700">
            <a:solidFill>
              <a:schemeClr val="accent6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40" name="CuadroTexto 7">
            <a:extLst>
              <a:ext uri="{FF2B5EF4-FFF2-40B4-BE49-F238E27FC236}">
                <a16:creationId xmlns:a16="http://schemas.microsoft.com/office/drawing/2014/main" xmlns="" id="{D04FC440-45AA-40AF-BC12-D6C9105EF270}"/>
              </a:ext>
            </a:extLst>
          </p:cNvPr>
          <p:cNvSpPr txBox="1"/>
          <p:nvPr/>
        </p:nvSpPr>
        <p:spPr>
          <a:xfrm>
            <a:off x="4076405" y="5294577"/>
            <a:ext cx="3377943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 smtClean="0">
                <a:solidFill>
                  <a:schemeClr val="accent6">
                    <a:lumMod val="7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vento de cierre </a:t>
            </a:r>
            <a:endParaRPr lang="es-ES" sz="1400" b="1" dirty="0">
              <a:solidFill>
                <a:schemeClr val="accent6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es-ES" sz="100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iembros del Concejo Metropolitano y técnicos municipales  </a:t>
            </a:r>
          </a:p>
          <a:p>
            <a:r>
              <a:rPr lang="es-ES" sz="100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echa propuesta: </a:t>
            </a:r>
            <a:r>
              <a:rPr lang="es-ES" sz="1000" b="1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Viernes 2 de Julio 9h00-11h00</a:t>
            </a:r>
            <a:r>
              <a:rPr lang="es-ES" sz="100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s-CL" sz="10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32107" y="672706"/>
            <a:ext cx="986653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16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alleres de intercambio de experiencias sobre </a:t>
            </a:r>
            <a:r>
              <a:rPr lang="es-MX" sz="16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LANIFICACIÓN URBANA Y HERRAMIENTAS DE GESTIÓN DE SUELO  </a:t>
            </a:r>
          </a:p>
        </p:txBody>
      </p:sp>
    </p:spTree>
    <p:extLst>
      <p:ext uri="{BB962C8B-B14F-4D97-AF65-F5344CB8AC3E}">
        <p14:creationId xmlns:p14="http://schemas.microsoft.com/office/powerpoint/2010/main" val="3872997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0155078D-9C4D-4E76-9E27-FB8CCB51056F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" y="0"/>
            <a:ext cx="495302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ED05C4E6-FCBF-4715-ADC6-AE7A92B250EB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166507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F06A9F79-3EC7-49C6-B0F8-825766CB9BB7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75400" y="-5361049"/>
            <a:ext cx="428627" cy="1115072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4DA09D1F-3A95-4D36-8AA4-563FF431B480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64688" y="1083802"/>
            <a:ext cx="431005" cy="1115072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22" name="Straight Arrow Connector 4">
            <a:extLst>
              <a:ext uri="{FF2B5EF4-FFF2-40B4-BE49-F238E27FC236}">
                <a16:creationId xmlns:a16="http://schemas.microsoft.com/office/drawing/2014/main" xmlns="" id="{65633C54-0E4F-4139-9DCE-F5C6B1FB427D}"/>
              </a:ext>
            </a:extLst>
          </p:cNvPr>
          <p:cNvCxnSpPr>
            <a:cxnSpLocks/>
          </p:cNvCxnSpPr>
          <p:nvPr/>
        </p:nvCxnSpPr>
        <p:spPr>
          <a:xfrm>
            <a:off x="875356" y="1045736"/>
            <a:ext cx="7446608" cy="0"/>
          </a:xfrm>
          <a:prstGeom prst="straightConnector1">
            <a:avLst/>
          </a:prstGeom>
          <a:ln w="6350"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3" name="CuadroTexto 12">
            <a:extLst>
              <a:ext uri="{FF2B5EF4-FFF2-40B4-BE49-F238E27FC236}">
                <a16:creationId xmlns:a16="http://schemas.microsoft.com/office/drawing/2014/main" xmlns="" id="{AA84E490-9253-4769-AFFE-F233632DB2DA}"/>
              </a:ext>
            </a:extLst>
          </p:cNvPr>
          <p:cNvSpPr txBox="1"/>
          <p:nvPr/>
        </p:nvSpPr>
        <p:spPr>
          <a:xfrm>
            <a:off x="613928" y="1572688"/>
            <a:ext cx="11041626" cy="3712683"/>
          </a:xfrm>
          <a:prstGeom prst="rect">
            <a:avLst/>
          </a:prstGeom>
          <a:noFill/>
          <a:ln w="9525">
            <a:noFill/>
          </a:ln>
        </p:spPr>
        <p:txBody>
          <a:bodyPr wrap="square" rtlCol="0">
            <a:spAutoFit/>
          </a:bodyPr>
          <a:lstStyle/>
          <a:p>
            <a:endParaRPr lang="es-MX" sz="2000" dirty="0">
              <a:latin typeface="Calibri" panose="020F0502020204030204" pitchFamily="34" charset="0"/>
            </a:endParaRPr>
          </a:p>
          <a:p>
            <a:r>
              <a:rPr lang="es-MX" sz="2000" b="1" dirty="0" smtClean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 pone en conocimiento y consideración en Comisión de Suelo del Concejo Metropolitano de Quito</a:t>
            </a:r>
          </a:p>
          <a:p>
            <a:r>
              <a:rPr lang="es-MX" sz="2000" b="1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s siguientes talleres y fechas: </a:t>
            </a:r>
            <a:endParaRPr lang="es-MX" sz="2000" b="1" dirty="0">
              <a:solidFill>
                <a:schemeClr val="accent5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s-MX" b="1" dirty="0">
              <a:solidFill>
                <a:srgbClr val="0070C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 smtClean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lnSpc>
                <a:spcPct val="107000"/>
              </a:lnSpc>
            </a:pPr>
            <a:endParaRPr lang="es-E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2000" b="1" dirty="0">
              <a:solidFill>
                <a:srgbClr val="0070C0"/>
              </a:solidFill>
              <a:latin typeface="Calibri" panose="020F0502020204030204" pitchFamily="34" charset="0"/>
            </a:endParaRPr>
          </a:p>
          <a:p>
            <a:endParaRPr lang="es-MX" sz="2000" b="1" dirty="0">
              <a:solidFill>
                <a:srgbClr val="0070C0"/>
              </a:solidFill>
              <a:latin typeface="Calibri" panose="020F0502020204030204" pitchFamily="34" charset="0"/>
            </a:endParaRPr>
          </a:p>
        </p:txBody>
      </p:sp>
      <p:sp>
        <p:nvSpPr>
          <p:cNvPr id="25" name="Rounded Rectangle 103">
            <a:extLst>
              <a:ext uri="{FF2B5EF4-FFF2-40B4-BE49-F238E27FC236}">
                <a16:creationId xmlns:a16="http://schemas.microsoft.com/office/drawing/2014/main" xmlns="" id="{CC0EE24D-43EE-4375-A6EE-CE93EDA882DB}"/>
              </a:ext>
            </a:extLst>
          </p:cNvPr>
          <p:cNvSpPr/>
          <p:nvPr/>
        </p:nvSpPr>
        <p:spPr>
          <a:xfrm>
            <a:off x="812561" y="2976654"/>
            <a:ext cx="4148712" cy="890034"/>
          </a:xfrm>
          <a:prstGeom prst="roundRect">
            <a:avLst/>
          </a:prstGeom>
          <a:noFill/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pic>
        <p:nvPicPr>
          <p:cNvPr id="30" name="Gráfico 13" descr="Ciudad">
            <a:extLst>
              <a:ext uri="{FF2B5EF4-FFF2-40B4-BE49-F238E27FC236}">
                <a16:creationId xmlns:a16="http://schemas.microsoft.com/office/drawing/2014/main" xmlns="" id="{94A5DBBA-3E6C-42A7-9B23-DF3BBDB8BE9C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127361" y="3131546"/>
            <a:ext cx="452606" cy="515426"/>
          </a:xfrm>
          <a:prstGeom prst="rect">
            <a:avLst/>
          </a:prstGeom>
        </p:spPr>
      </p:pic>
      <p:sp>
        <p:nvSpPr>
          <p:cNvPr id="27" name="CuadroTexto 26">
            <a:extLst>
              <a:ext uri="{FF2B5EF4-FFF2-40B4-BE49-F238E27FC236}">
                <a16:creationId xmlns:a16="http://schemas.microsoft.com/office/drawing/2014/main" xmlns="" id="{D10CA3D3-F74F-4BB7-A695-A09A9D7F7364}"/>
              </a:ext>
            </a:extLst>
          </p:cNvPr>
          <p:cNvSpPr txBox="1"/>
          <p:nvPr/>
        </p:nvSpPr>
        <p:spPr>
          <a:xfrm>
            <a:off x="1928629" y="3228975"/>
            <a:ext cx="26120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solidFill>
                  <a:schemeClr val="accent2"/>
                </a:solidFill>
              </a:rPr>
              <a:t>Taller con Técnicos municipales </a:t>
            </a:r>
            <a:endParaRPr lang="es-CL" sz="1400" b="1" dirty="0">
              <a:solidFill>
                <a:schemeClr val="accent2"/>
              </a:solidFill>
            </a:endParaRPr>
          </a:p>
        </p:txBody>
      </p:sp>
      <p:pic>
        <p:nvPicPr>
          <p:cNvPr id="2053" name="Picture 6">
            <a:extLst>
              <a:ext uri="{FF2B5EF4-FFF2-40B4-BE49-F238E27FC236}">
                <a16:creationId xmlns:a16="http://schemas.microsoft.com/office/drawing/2014/main" xmlns="" id="{91295C7C-1E9F-4CEC-AB5F-7B03E1EF3325}"/>
              </a:ext>
            </a:extLst>
          </p:cNvPr>
          <p:cNvPicPr/>
          <p:nvPr/>
        </p:nvPicPr>
        <p:blipFill>
          <a:blip r:embed="rId9"/>
          <a:stretch>
            <a:fillRect/>
          </a:stretch>
        </p:blipFill>
        <p:spPr>
          <a:xfrm>
            <a:off x="10653360" y="443436"/>
            <a:ext cx="1002194" cy="1135648"/>
          </a:xfrm>
          <a:prstGeom prst="rect">
            <a:avLst/>
          </a:prstGeom>
        </p:spPr>
      </p:pic>
      <p:sp>
        <p:nvSpPr>
          <p:cNvPr id="36" name="Rounded Rectangle 103">
            <a:extLst>
              <a:ext uri="{FF2B5EF4-FFF2-40B4-BE49-F238E27FC236}">
                <a16:creationId xmlns:a16="http://schemas.microsoft.com/office/drawing/2014/main" xmlns="" id="{CC0EE24D-43EE-4375-A6EE-CE93EDA882DB}"/>
              </a:ext>
            </a:extLst>
          </p:cNvPr>
          <p:cNvSpPr/>
          <p:nvPr/>
        </p:nvSpPr>
        <p:spPr>
          <a:xfrm>
            <a:off x="812561" y="3983027"/>
            <a:ext cx="4148712" cy="890034"/>
          </a:xfrm>
          <a:prstGeom prst="roundRect">
            <a:avLst/>
          </a:prstGeom>
          <a:noFill/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37" name="CuadroTexto 26">
            <a:extLst>
              <a:ext uri="{FF2B5EF4-FFF2-40B4-BE49-F238E27FC236}">
                <a16:creationId xmlns:a16="http://schemas.microsoft.com/office/drawing/2014/main" xmlns="" id="{D10CA3D3-F74F-4BB7-A695-A09A9D7F7364}"/>
              </a:ext>
            </a:extLst>
          </p:cNvPr>
          <p:cNvSpPr txBox="1"/>
          <p:nvPr/>
        </p:nvSpPr>
        <p:spPr>
          <a:xfrm>
            <a:off x="1353664" y="4137796"/>
            <a:ext cx="28802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solidFill>
                  <a:schemeClr val="accent2"/>
                </a:solidFill>
              </a:rPr>
              <a:t>Fecha propuesta:</a:t>
            </a:r>
          </a:p>
          <a:p>
            <a:r>
              <a:rPr lang="es-CL" sz="1400" b="1" dirty="0" smtClean="0">
                <a:solidFill>
                  <a:schemeClr val="accent2"/>
                </a:solidFill>
              </a:rPr>
              <a:t>Miércoles, 23 de Junio 9h00 a 17h00</a:t>
            </a:r>
            <a:endParaRPr lang="es-CL" sz="1400" b="1" dirty="0">
              <a:solidFill>
                <a:schemeClr val="accent2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1273" y="2954834"/>
            <a:ext cx="6073775" cy="2555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Rectangle 27"/>
          <p:cNvSpPr/>
          <p:nvPr/>
        </p:nvSpPr>
        <p:spPr>
          <a:xfrm>
            <a:off x="832107" y="672706"/>
            <a:ext cx="986653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16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alleres de intercambio de experiencias sobre </a:t>
            </a:r>
            <a:r>
              <a:rPr lang="es-MX" sz="16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LANIFICACIÓN URBANA Y HERRAMIENTAS DE GESTIÓN DE SUELO  </a:t>
            </a:r>
          </a:p>
        </p:txBody>
      </p:sp>
    </p:spTree>
    <p:extLst>
      <p:ext uri="{BB962C8B-B14F-4D97-AF65-F5344CB8AC3E}">
        <p14:creationId xmlns:p14="http://schemas.microsoft.com/office/powerpoint/2010/main" val="1358189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0155078D-9C4D-4E76-9E27-FB8CCB51056F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" y="0"/>
            <a:ext cx="495302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ED05C4E6-FCBF-4715-ADC6-AE7A92B250EB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>
            <a:off x="1166507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F06A9F79-3EC7-49C6-B0F8-825766CB9BB7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75400" y="-5361049"/>
            <a:ext cx="428627" cy="1115072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4DA09D1F-3A95-4D36-8AA4-563FF431B480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30"/>
          <a:stretch/>
        </p:blipFill>
        <p:spPr bwMode="auto">
          <a:xfrm rot="5400000">
            <a:off x="5864688" y="1083802"/>
            <a:ext cx="431005" cy="1115072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22" name="Straight Arrow Connector 4">
            <a:extLst>
              <a:ext uri="{FF2B5EF4-FFF2-40B4-BE49-F238E27FC236}">
                <a16:creationId xmlns:a16="http://schemas.microsoft.com/office/drawing/2014/main" xmlns="" id="{65633C54-0E4F-4139-9DCE-F5C6B1FB427D}"/>
              </a:ext>
            </a:extLst>
          </p:cNvPr>
          <p:cNvCxnSpPr>
            <a:cxnSpLocks/>
          </p:cNvCxnSpPr>
          <p:nvPr/>
        </p:nvCxnSpPr>
        <p:spPr>
          <a:xfrm>
            <a:off x="875356" y="1045736"/>
            <a:ext cx="7446608" cy="0"/>
          </a:xfrm>
          <a:prstGeom prst="straightConnector1">
            <a:avLst/>
          </a:prstGeom>
          <a:ln w="6350"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3" name="CuadroTexto 12">
            <a:extLst>
              <a:ext uri="{FF2B5EF4-FFF2-40B4-BE49-F238E27FC236}">
                <a16:creationId xmlns:a16="http://schemas.microsoft.com/office/drawing/2014/main" xmlns="" id="{AA84E490-9253-4769-AFFE-F233632DB2DA}"/>
              </a:ext>
            </a:extLst>
          </p:cNvPr>
          <p:cNvSpPr txBox="1"/>
          <p:nvPr/>
        </p:nvSpPr>
        <p:spPr>
          <a:xfrm>
            <a:off x="613928" y="1166479"/>
            <a:ext cx="10678912" cy="3404906"/>
          </a:xfrm>
          <a:prstGeom prst="rect">
            <a:avLst/>
          </a:prstGeom>
          <a:noFill/>
          <a:ln w="9525">
            <a:noFill/>
          </a:ln>
        </p:spPr>
        <p:txBody>
          <a:bodyPr wrap="square" rtlCol="0">
            <a:spAutoFit/>
          </a:bodyPr>
          <a:lstStyle/>
          <a:p>
            <a:endParaRPr lang="es-MX" sz="2000" dirty="0">
              <a:latin typeface="Calibri" panose="020F0502020204030204" pitchFamily="34" charset="0"/>
            </a:endParaRPr>
          </a:p>
          <a:p>
            <a:r>
              <a:rPr lang="es-MX" sz="20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MX" sz="2000" b="1" dirty="0" smtClean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oyo proceso de política pública nivel local - Distrito Metropolitano de Quito:</a:t>
            </a:r>
            <a:endParaRPr lang="es-MX" sz="2000" b="1" dirty="0">
              <a:solidFill>
                <a:schemeClr val="accent5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s-MX" b="1" dirty="0">
              <a:solidFill>
                <a:srgbClr val="0070C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 smtClean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140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lnSpc>
                <a:spcPct val="107000"/>
              </a:lnSpc>
            </a:pPr>
            <a:endParaRPr lang="es-E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s-MX" sz="2000" b="1" dirty="0">
              <a:solidFill>
                <a:srgbClr val="0070C0"/>
              </a:solidFill>
              <a:latin typeface="Calibri" panose="020F0502020204030204" pitchFamily="34" charset="0"/>
            </a:endParaRPr>
          </a:p>
          <a:p>
            <a:endParaRPr lang="es-MX" sz="2000" b="1" dirty="0">
              <a:solidFill>
                <a:srgbClr val="0070C0"/>
              </a:solidFill>
              <a:latin typeface="Calibri" panose="020F0502020204030204" pitchFamily="34" charset="0"/>
            </a:endParaRPr>
          </a:p>
        </p:txBody>
      </p:sp>
      <p:sp>
        <p:nvSpPr>
          <p:cNvPr id="2048" name="Rounded Rectangle 103">
            <a:extLst>
              <a:ext uri="{FF2B5EF4-FFF2-40B4-BE49-F238E27FC236}">
                <a16:creationId xmlns:a16="http://schemas.microsoft.com/office/drawing/2014/main" xmlns="" id="{45AEF06F-70D7-44A2-A738-B2DE31E6FB66}"/>
              </a:ext>
            </a:extLst>
          </p:cNvPr>
          <p:cNvSpPr/>
          <p:nvPr/>
        </p:nvSpPr>
        <p:spPr>
          <a:xfrm>
            <a:off x="1102901" y="2976654"/>
            <a:ext cx="3754712" cy="890034"/>
          </a:xfrm>
          <a:prstGeom prst="roundRect">
            <a:avLst/>
          </a:prstGeom>
          <a:noFill/>
          <a:ln w="127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2049" name="CuadroTexto 2048">
            <a:extLst>
              <a:ext uri="{FF2B5EF4-FFF2-40B4-BE49-F238E27FC236}">
                <a16:creationId xmlns:a16="http://schemas.microsoft.com/office/drawing/2014/main" xmlns="" id="{7A6E8883-6392-485D-8CA8-F955DB72BA6C}"/>
              </a:ext>
            </a:extLst>
          </p:cNvPr>
          <p:cNvSpPr txBox="1"/>
          <p:nvPr/>
        </p:nvSpPr>
        <p:spPr>
          <a:xfrm>
            <a:off x="1870613" y="3121254"/>
            <a:ext cx="29839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 dirty="0" smtClean="0">
                <a:solidFill>
                  <a:schemeClr val="accent4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aller con Concejales y asesores </a:t>
            </a:r>
          </a:p>
          <a:p>
            <a:r>
              <a:rPr lang="es-MX" sz="1400" b="1" dirty="0" smtClean="0">
                <a:solidFill>
                  <a:schemeClr val="accent4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el Concejo Metropolitano de Quito</a:t>
            </a:r>
            <a:endParaRPr lang="es-CL" sz="1000" dirty="0">
              <a:solidFill>
                <a:schemeClr val="accent4"/>
              </a:solidFill>
            </a:endParaRPr>
          </a:p>
        </p:txBody>
      </p:sp>
      <p:pic>
        <p:nvPicPr>
          <p:cNvPr id="43" name="Gráfico 16" descr="Chateo">
            <a:extLst>
              <a:ext uri="{FF2B5EF4-FFF2-40B4-BE49-F238E27FC236}">
                <a16:creationId xmlns:a16="http://schemas.microsoft.com/office/drawing/2014/main" xmlns="" id="{6BB2B59F-D315-4BC3-BFBD-5E0825909637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1135339" y="3015731"/>
            <a:ext cx="741296" cy="741006"/>
          </a:xfrm>
          <a:prstGeom prst="rect">
            <a:avLst/>
          </a:prstGeom>
        </p:spPr>
      </p:pic>
      <p:pic>
        <p:nvPicPr>
          <p:cNvPr id="2053" name="Picture 6">
            <a:extLst>
              <a:ext uri="{FF2B5EF4-FFF2-40B4-BE49-F238E27FC236}">
                <a16:creationId xmlns:a16="http://schemas.microsoft.com/office/drawing/2014/main" xmlns="" id="{91295C7C-1E9F-4CEC-AB5F-7B03E1EF3325}"/>
              </a:ext>
            </a:extLst>
          </p:cNvPr>
          <p:cNvPicPr/>
          <p:nvPr/>
        </p:nvPicPr>
        <p:blipFill>
          <a:blip r:embed="rId13"/>
          <a:stretch>
            <a:fillRect/>
          </a:stretch>
        </p:blipFill>
        <p:spPr>
          <a:xfrm>
            <a:off x="10653360" y="443436"/>
            <a:ext cx="1002194" cy="1135648"/>
          </a:xfrm>
          <a:prstGeom prst="rect">
            <a:avLst/>
          </a:prstGeom>
        </p:spPr>
      </p:pic>
      <p:sp>
        <p:nvSpPr>
          <p:cNvPr id="23" name="Rounded Rectangle 103">
            <a:extLst>
              <a:ext uri="{FF2B5EF4-FFF2-40B4-BE49-F238E27FC236}">
                <a16:creationId xmlns:a16="http://schemas.microsoft.com/office/drawing/2014/main" xmlns="" id="{45AEF06F-70D7-44A2-A738-B2DE31E6FB66}"/>
              </a:ext>
            </a:extLst>
          </p:cNvPr>
          <p:cNvSpPr/>
          <p:nvPr/>
        </p:nvSpPr>
        <p:spPr>
          <a:xfrm>
            <a:off x="1099831" y="3999036"/>
            <a:ext cx="3754712" cy="890034"/>
          </a:xfrm>
          <a:prstGeom prst="roundRect">
            <a:avLst/>
          </a:prstGeom>
          <a:noFill/>
          <a:ln w="127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24" name="CuadroTexto 2048">
            <a:extLst>
              <a:ext uri="{FF2B5EF4-FFF2-40B4-BE49-F238E27FC236}">
                <a16:creationId xmlns:a16="http://schemas.microsoft.com/office/drawing/2014/main" xmlns="" id="{7A6E8883-6392-485D-8CA8-F955DB72BA6C}"/>
              </a:ext>
            </a:extLst>
          </p:cNvPr>
          <p:cNvSpPr txBox="1"/>
          <p:nvPr/>
        </p:nvSpPr>
        <p:spPr>
          <a:xfrm>
            <a:off x="1640692" y="4182443"/>
            <a:ext cx="29839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 dirty="0" smtClean="0">
                <a:solidFill>
                  <a:schemeClr val="accent4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echa propuesta: </a:t>
            </a:r>
          </a:p>
          <a:p>
            <a:r>
              <a:rPr lang="es-MX" sz="1400" b="1" dirty="0" smtClean="0">
                <a:solidFill>
                  <a:schemeClr val="accent4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Jueves, 24 de Junio, 9h00 a 13h00</a:t>
            </a:r>
          </a:p>
        </p:txBody>
      </p:sp>
      <p:sp>
        <p:nvSpPr>
          <p:cNvPr id="28" name="Text Box 2"/>
          <p:cNvSpPr txBox="1">
            <a:spLocks noChangeArrowheads="1"/>
          </p:cNvSpPr>
          <p:nvPr/>
        </p:nvSpPr>
        <p:spPr bwMode="auto">
          <a:xfrm>
            <a:off x="5134704" y="2452995"/>
            <a:ext cx="5848558" cy="345889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s-419" sz="1100" b="1" dirty="0">
                <a:effectLst/>
                <a:latin typeface="Calibri Light"/>
                <a:ea typeface="Calibri"/>
                <a:cs typeface="Times New Roman"/>
              </a:rPr>
              <a:t>Objetivo: </a:t>
            </a:r>
            <a:r>
              <a:rPr lang="es-419" sz="1100" dirty="0">
                <a:effectLst/>
                <a:latin typeface="Calibri Light"/>
                <a:ea typeface="Calibri"/>
                <a:cs typeface="Times New Roman"/>
              </a:rPr>
              <a:t>El taller tiene como objetivo facilitar el intercambio de experiencias y aprendizajes en planificación urbana, uso y gestión del suelo, con énfasis en los mecanismos de captura de valor como la concesión onerosa de derechos y su implementación mediante operaciones urbanísticas integrales. </a:t>
            </a:r>
            <a:endParaRPr lang="en-US" sz="1100" dirty="0">
              <a:effectLst/>
              <a:latin typeface="Calibri"/>
              <a:ea typeface="Calibri"/>
              <a:cs typeface="Times New Roman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s-419" sz="1100" b="1" dirty="0">
                <a:effectLst/>
                <a:latin typeface="Calibri Light"/>
                <a:ea typeface="Calibri"/>
                <a:cs typeface="Times New Roman"/>
              </a:rPr>
              <a:t>Dirigido a: </a:t>
            </a:r>
            <a:r>
              <a:rPr lang="es-419" sz="1100" dirty="0">
                <a:effectLst/>
                <a:latin typeface="Calibri Light"/>
                <a:ea typeface="Calibri"/>
                <a:cs typeface="Times New Roman"/>
              </a:rPr>
              <a:t>Concejales y concejalas del Concejo Metropolitano de Quito y hasta dos delegados/as técnicos de cada despacho. </a:t>
            </a:r>
            <a:endParaRPr lang="en-US" sz="1100" dirty="0">
              <a:effectLst/>
              <a:latin typeface="Calibri"/>
              <a:ea typeface="Calibri"/>
              <a:cs typeface="Times New Roman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s-419" sz="1100" b="1" dirty="0">
                <a:effectLst/>
                <a:latin typeface="Calibri Light"/>
                <a:ea typeface="Calibri"/>
                <a:cs typeface="Times New Roman"/>
              </a:rPr>
              <a:t>Modalidad: </a:t>
            </a:r>
            <a:r>
              <a:rPr lang="es-419" sz="1100" dirty="0">
                <a:effectLst/>
                <a:latin typeface="Calibri Light"/>
                <a:ea typeface="Calibri"/>
                <a:cs typeface="Times New Roman"/>
              </a:rPr>
              <a:t>Mixta; Presencial y Virtual con experto internacional, Taller e intercambio de experiencias (técnicas y políticas) de 4 horas. </a:t>
            </a:r>
            <a:endParaRPr lang="es-419" sz="1100" dirty="0" smtClean="0">
              <a:effectLst/>
              <a:latin typeface="Calibri Light"/>
              <a:ea typeface="Calibri"/>
              <a:cs typeface="Times New Roman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s-419" sz="1100" b="1" dirty="0" smtClean="0">
                <a:effectLst/>
                <a:latin typeface="Calibri Light"/>
                <a:ea typeface="Calibri"/>
                <a:cs typeface="Times New Roman"/>
              </a:rPr>
              <a:t>Participan</a:t>
            </a:r>
            <a:r>
              <a:rPr lang="es-419" sz="1100" b="1" dirty="0">
                <a:effectLst/>
                <a:latin typeface="Calibri Light"/>
                <a:ea typeface="Calibri"/>
                <a:cs typeface="Times New Roman"/>
              </a:rPr>
              <a:t>:</a:t>
            </a:r>
            <a:r>
              <a:rPr lang="es-419" sz="1100" dirty="0">
                <a:effectLst/>
                <a:latin typeface="Calibri Light"/>
                <a:ea typeface="Calibri"/>
                <a:cs typeface="Times New Roman"/>
              </a:rPr>
              <a:t> Experto regional, consultores CEPAL, </a:t>
            </a:r>
            <a:r>
              <a:rPr lang="es-419" sz="1100" dirty="0" smtClean="0">
                <a:effectLst/>
                <a:latin typeface="Calibri Light"/>
                <a:ea typeface="Calibri"/>
                <a:cs typeface="Times New Roman"/>
              </a:rPr>
              <a:t>y </a:t>
            </a:r>
            <a:r>
              <a:rPr lang="es-419" sz="1100" dirty="0">
                <a:effectLst/>
                <a:latin typeface="Calibri Light"/>
                <a:ea typeface="Calibri"/>
                <a:cs typeface="Times New Roman"/>
              </a:rPr>
              <a:t>miembros del </a:t>
            </a:r>
            <a:r>
              <a:rPr lang="es-419" sz="1100" dirty="0" smtClean="0">
                <a:effectLst/>
                <a:latin typeface="Calibri Light"/>
                <a:ea typeface="Calibri"/>
                <a:cs typeface="Times New Roman"/>
              </a:rPr>
              <a:t>Concejo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s-419" sz="1100" b="1" dirty="0" smtClean="0">
                <a:effectLst/>
                <a:latin typeface="Calibri Light"/>
                <a:ea typeface="Calibri"/>
                <a:cs typeface="Times New Roman"/>
              </a:rPr>
              <a:t>Coordinación </a:t>
            </a:r>
            <a:r>
              <a:rPr lang="es-419" sz="1100" b="1" dirty="0">
                <a:effectLst/>
                <a:latin typeface="Calibri Light"/>
                <a:ea typeface="Calibri"/>
                <a:cs typeface="Times New Roman"/>
              </a:rPr>
              <a:t>de agendas y convocatoria:</a:t>
            </a:r>
            <a:r>
              <a:rPr lang="es-419" sz="1100" dirty="0">
                <a:effectLst/>
                <a:latin typeface="Calibri Light"/>
                <a:ea typeface="Calibri"/>
                <a:cs typeface="Times New Roman"/>
              </a:rPr>
              <a:t> </a:t>
            </a:r>
            <a:r>
              <a:rPr lang="es-419" sz="1100" dirty="0" smtClean="0">
                <a:effectLst/>
                <a:latin typeface="Calibri Light"/>
                <a:ea typeface="Calibri"/>
                <a:cs typeface="Times New Roman"/>
              </a:rPr>
              <a:t> Equipo CEPAL y Comisión de Suelo del Concejo Metripolitano de Quito (A consideración). </a:t>
            </a:r>
            <a:endParaRPr lang="en-US" sz="1100" dirty="0">
              <a:effectLst/>
              <a:latin typeface="Calibri"/>
              <a:ea typeface="Calibri"/>
              <a:cs typeface="Times New Roman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s-419" sz="1100" b="1" dirty="0">
                <a:effectLst/>
                <a:latin typeface="Calibri Light"/>
                <a:ea typeface="Calibri"/>
                <a:cs typeface="Times New Roman"/>
              </a:rPr>
              <a:t>Lugar: </a:t>
            </a:r>
            <a:r>
              <a:rPr lang="es-419" sz="1100" dirty="0">
                <a:effectLst/>
                <a:latin typeface="Calibri Light"/>
                <a:ea typeface="Calibri"/>
                <a:cs typeface="Times New Roman"/>
              </a:rPr>
              <a:t>Encuentro en espacio seleccionado con medidas de bioseguridad y </a:t>
            </a:r>
            <a:r>
              <a:rPr lang="es-419" sz="1100" dirty="0" smtClean="0">
                <a:effectLst/>
                <a:latin typeface="Calibri Light"/>
                <a:ea typeface="Calibri"/>
                <a:cs typeface="Times New Roman"/>
              </a:rPr>
              <a:t>adecuado </a:t>
            </a:r>
            <a:r>
              <a:rPr lang="es-419" sz="1100" dirty="0">
                <a:effectLst/>
                <a:latin typeface="Calibri Light"/>
                <a:ea typeface="Calibri"/>
                <a:cs typeface="Times New Roman"/>
              </a:rPr>
              <a:t>para mantener distancia en plenaria y </a:t>
            </a:r>
            <a:r>
              <a:rPr lang="es-419" sz="1100" dirty="0" smtClean="0">
                <a:effectLst/>
                <a:latin typeface="Calibri Light"/>
                <a:ea typeface="Calibri"/>
                <a:cs typeface="Times New Roman"/>
              </a:rPr>
              <a:t>para </a:t>
            </a:r>
            <a:r>
              <a:rPr lang="es-419" sz="1100" dirty="0">
                <a:effectLst/>
                <a:latin typeface="Calibri Light"/>
                <a:ea typeface="Calibri"/>
                <a:cs typeface="Times New Roman"/>
              </a:rPr>
              <a:t>trabajo en grupos. Con conexión internet para video-conferencia con experto/a regional.</a:t>
            </a:r>
            <a:endParaRPr lang="en-US" sz="1100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832107" y="672706"/>
            <a:ext cx="986653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16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alleres de intercambio de experiencias sobre </a:t>
            </a:r>
            <a:r>
              <a:rPr lang="es-MX" sz="16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LANIFICACIÓN URBANA Y HERRAMIENTAS DE GESTIÓN DE SUELO  </a:t>
            </a:r>
          </a:p>
        </p:txBody>
      </p:sp>
    </p:spTree>
    <p:extLst>
      <p:ext uri="{BB962C8B-B14F-4D97-AF65-F5344CB8AC3E}">
        <p14:creationId xmlns:p14="http://schemas.microsoft.com/office/powerpoint/2010/main" val="2016542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30</TotalTime>
  <Words>1288</Words>
  <Application>Microsoft Office PowerPoint</Application>
  <PresentationFormat>Personalizado</PresentationFormat>
  <Paragraphs>262</Paragraphs>
  <Slides>14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14</vt:i4>
      </vt:variant>
    </vt:vector>
  </HeadingPairs>
  <TitlesOfParts>
    <vt:vector size="15" baseType="lpstr"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stefania</dc:creator>
  <cp:lastModifiedBy>Secretaria de Concejo</cp:lastModifiedBy>
  <cp:revision>87</cp:revision>
  <dcterms:created xsi:type="dcterms:W3CDTF">2020-11-05T15:17:29Z</dcterms:created>
  <dcterms:modified xsi:type="dcterms:W3CDTF">2021-06-07T14:45:09Z</dcterms:modified>
</cp:coreProperties>
</file>